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2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3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4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5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6.xml" ContentType="application/vnd.openxmlformats-officedocument.them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7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slideLayouts/slideLayout91.xml" ContentType="application/vnd.openxmlformats-officedocument.presentationml.slideLayout+xml"/>
  <Override PartName="/ppt/theme/theme8.xml" ContentType="application/vnd.openxmlformats-officedocument.them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9.xml" ContentType="application/vnd.openxmlformats-officedocument.them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840" r:id="rId5"/>
    <p:sldMasterId id="2147485088" r:id="rId6"/>
    <p:sldMasterId id="2147484875" r:id="rId7"/>
    <p:sldMasterId id="2147485027" r:id="rId8"/>
    <p:sldMasterId id="2147485079" r:id="rId9"/>
    <p:sldMasterId id="2147485059" r:id="rId10"/>
    <p:sldMasterId id="2147484993" r:id="rId11"/>
    <p:sldMasterId id="2147484922" r:id="rId12"/>
    <p:sldMasterId id="2147484929" r:id="rId13"/>
  </p:sldMasterIdLst>
  <p:notesMasterIdLst>
    <p:notesMasterId r:id="rId27"/>
  </p:notesMasterIdLst>
  <p:handoutMasterIdLst>
    <p:handoutMasterId r:id="rId28"/>
  </p:handoutMasterIdLst>
  <p:sldIdLst>
    <p:sldId id="1191" r:id="rId14"/>
    <p:sldId id="1239" r:id="rId15"/>
    <p:sldId id="473" r:id="rId16"/>
    <p:sldId id="1240" r:id="rId17"/>
    <p:sldId id="1242" r:id="rId18"/>
    <p:sldId id="1241" r:id="rId19"/>
    <p:sldId id="459" r:id="rId20"/>
    <p:sldId id="1245" r:id="rId21"/>
    <p:sldId id="1244" r:id="rId22"/>
    <p:sldId id="1243" r:id="rId23"/>
    <p:sldId id="465" r:id="rId24"/>
    <p:sldId id="1210" r:id="rId25"/>
    <p:sldId id="494" r:id="rId26"/>
  </p:sldIdLst>
  <p:sldSz cx="9144000" cy="5143500" type="screen16x9"/>
  <p:notesSz cx="6858000" cy="9144000"/>
  <p:custDataLst>
    <p:tags r:id="rId29"/>
  </p:custDataLst>
  <p:defaultTextStyle>
    <a:defPPr>
      <a:defRPr lang="ru-RU"/>
    </a:defPPr>
    <a:lvl1pPr marL="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103FA76-8B25-8D4E-A67C-BF42568DF761}" name="Михейкина Анастасия Михайлова" initials="МАМ" userId="Михейкина Анастасия Михайлова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Николай Самойленко" initials="НС" lastIdx="1" clrIdx="0">
    <p:extLst>
      <p:ext uri="{19B8F6BF-5375-455C-9EA6-DF929625EA0E}">
        <p15:presenceInfo xmlns:p15="http://schemas.microsoft.com/office/powerpoint/2012/main" userId="fcfc93b243611c08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7E2C3"/>
    <a:srgbClr val="F2FBFB"/>
    <a:srgbClr val="EEF4F4"/>
    <a:srgbClr val="008C95"/>
    <a:srgbClr val="EFF5F5"/>
    <a:srgbClr val="F4FAFA"/>
    <a:srgbClr val="008CFA"/>
    <a:srgbClr val="D1F2F4"/>
    <a:srgbClr val="003D4C"/>
    <a:srgbClr val="E5E5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B344D84-9AFB-497E-A393-DC336BA19D2E}" styleName="Средний стиль 3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99" autoAdjust="0"/>
    <p:restoredTop sz="96327" autoAdjust="0"/>
  </p:normalViewPr>
  <p:slideViewPr>
    <p:cSldViewPr snapToGrid="0">
      <p:cViewPr varScale="1">
        <p:scale>
          <a:sx n="115" d="100"/>
          <a:sy n="115" d="100"/>
        </p:scale>
        <p:origin x="538" y="67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 showGuides="1">
      <p:cViewPr varScale="1">
        <p:scale>
          <a:sx n="108" d="100"/>
          <a:sy n="108" d="100"/>
        </p:scale>
        <p:origin x="3144" y="2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Master" Target="slideMasters/slideMaster9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slide" Target="slides/slide8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3.xml"/><Relationship Id="rId12" Type="http://schemas.openxmlformats.org/officeDocument/2006/relationships/slideMaster" Target="slideMasters/slideMaster8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tags" Target="tags/tag1.xml"/><Relationship Id="rId16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24" Type="http://schemas.openxmlformats.org/officeDocument/2006/relationships/slide" Target="slides/slide11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handoutMaster" Target="handoutMasters/handoutMaster1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6.xml"/><Relationship Id="rId31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 dirty="0">
                <a:latin typeface="Arial" panose="020B0604020202020204" pitchFamily="34" charset="0"/>
              </a:rPr>
              <a:t>123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9AFB47-56AB-476F-9455-EF6F30A236AE}" type="datetime4">
              <a:rPr lang="ru-RU" smtClean="0">
                <a:latin typeface="Arial" panose="020B0604020202020204" pitchFamily="34" charset="0"/>
              </a:rPr>
              <a:t>12 сентября 2025 г.</a:t>
            </a:fld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EB5374-BFD1-4068-ABE3-5F919E1EE36B}" type="slidenum">
              <a:rPr lang="ru-RU" smtClean="0">
                <a:latin typeface="Arial" panose="020B0604020202020204" pitchFamily="34" charset="0"/>
              </a:rPr>
              <a:t>‹#›</a:t>
            </a:fld>
            <a:endParaRPr lang="ru-RU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482774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r>
              <a:rPr lang="ru-RU" dirty="0"/>
              <a:t>123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082538C9-0903-4816-8FAC-380113624D26}" type="datetime4">
              <a:rPr lang="ru-RU" smtClean="0"/>
              <a:t>12 сентября 2025 г.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11DC9E7D-DF78-4283-97F9-86BECCE66EA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97162811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778986" rtl="0" eaLnBrk="1" latinLnBrk="0" hangingPunct="1">
      <a:defRPr sz="10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89494" algn="l" defTabSz="778986" rtl="0" eaLnBrk="1" latinLnBrk="0" hangingPunct="1">
      <a:defRPr sz="10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778986" algn="l" defTabSz="778986" rtl="0" eaLnBrk="1" latinLnBrk="0" hangingPunct="1">
      <a:defRPr sz="10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168479" algn="l" defTabSz="778986" rtl="0" eaLnBrk="1" latinLnBrk="0" hangingPunct="1">
      <a:defRPr sz="10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557972" algn="l" defTabSz="778986" rtl="0" eaLnBrk="1" latinLnBrk="0" hangingPunct="1">
      <a:defRPr sz="10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947464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3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2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4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1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2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4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1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2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5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8.bin"/><Relationship Id="rId4" Type="http://schemas.openxmlformats.org/officeDocument/2006/relationships/image" Target="../media/image3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6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8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вобод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2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9561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FB7E509A-60E9-1D92-441D-20BCE818056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alphaModFix amt="4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895C41BD-FDA2-8EC0-AED8-46D10B40848A}"/>
              </a:ext>
            </a:extLst>
          </p:cNvPr>
          <p:cNvSpPr/>
          <p:nvPr userDrawn="1"/>
        </p:nvSpPr>
        <p:spPr bwMode="auto">
          <a:xfrm>
            <a:off x="323851" y="1131590"/>
            <a:ext cx="2760312" cy="3382659"/>
          </a:xfrm>
          <a:prstGeom prst="roundRect">
            <a:avLst>
              <a:gd name="adj" fmla="val 8388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0A43B378-8AB6-EABF-F3E6-AB8536105261}"/>
              </a:ext>
            </a:extLst>
          </p:cNvPr>
          <p:cNvSpPr/>
          <p:nvPr userDrawn="1"/>
        </p:nvSpPr>
        <p:spPr bwMode="auto">
          <a:xfrm>
            <a:off x="3203848" y="1131590"/>
            <a:ext cx="2760312" cy="3382659"/>
          </a:xfrm>
          <a:prstGeom prst="roundRect">
            <a:avLst>
              <a:gd name="adj" fmla="val 8388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9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в 2 строки для слайда с </a:t>
            </a:r>
            <a:r>
              <a:rPr lang="ru-RU" dirty="0" err="1">
                <a:effectLst/>
              </a:rPr>
              <a:t>хайлайтами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5">
            <a:extLst>
              <a:ext uri="{FF2B5EF4-FFF2-40B4-BE49-F238E27FC236}">
                <a16:creationId xmlns:a16="http://schemas.microsoft.com/office/drawing/2014/main" id="{213108D9-4332-E6D3-55D8-6EB5EB3803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684" y="1410465"/>
            <a:ext cx="2151063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журнальный вид.</a:t>
            </a:r>
            <a:endParaRPr lang="ru-RU" dirty="0"/>
          </a:p>
        </p:txBody>
      </p:sp>
      <p:sp>
        <p:nvSpPr>
          <p:cNvPr id="6" name="Текст 35">
            <a:extLst>
              <a:ext uri="{FF2B5EF4-FFF2-40B4-BE49-F238E27FC236}">
                <a16:creationId xmlns:a16="http://schemas.microsoft.com/office/drawing/2014/main" id="{F11B5FFA-30FB-EE2C-31AB-0C7C0B634D4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11570" y="1408276"/>
            <a:ext cx="2151063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978771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7411880C-ACC3-FF55-34A0-F7A8F65FBAC9}"/>
              </a:ext>
            </a:extLst>
          </p:cNvPr>
          <p:cNvSpPr/>
          <p:nvPr userDrawn="1"/>
        </p:nvSpPr>
        <p:spPr bwMode="auto">
          <a:xfrm>
            <a:off x="3199359" y="1131590"/>
            <a:ext cx="2760312" cy="1628672"/>
          </a:xfrm>
          <a:prstGeom prst="roundRect">
            <a:avLst>
              <a:gd name="adj" fmla="val 12833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8AE92EF4-30CB-4252-A999-5C9EE80F3824}"/>
              </a:ext>
            </a:extLst>
          </p:cNvPr>
          <p:cNvSpPr/>
          <p:nvPr userDrawn="1"/>
        </p:nvSpPr>
        <p:spPr bwMode="auto">
          <a:xfrm>
            <a:off x="6074866" y="1131590"/>
            <a:ext cx="2760312" cy="1628672"/>
          </a:xfrm>
          <a:prstGeom prst="roundRect">
            <a:avLst>
              <a:gd name="adj" fmla="val 14042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7B012B70-1E52-E7E2-10F4-8594E3A7966F}"/>
              </a:ext>
            </a:extLst>
          </p:cNvPr>
          <p:cNvSpPr/>
          <p:nvPr userDrawn="1"/>
        </p:nvSpPr>
        <p:spPr bwMode="auto">
          <a:xfrm>
            <a:off x="323851" y="1131590"/>
            <a:ext cx="2760312" cy="1628672"/>
          </a:xfrm>
          <a:prstGeom prst="roundRect">
            <a:avLst>
              <a:gd name="adj" fmla="val 13067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3AA0D9F1-A198-4488-58CC-96CC32A47A7B}"/>
              </a:ext>
            </a:extLst>
          </p:cNvPr>
          <p:cNvSpPr/>
          <p:nvPr userDrawn="1"/>
        </p:nvSpPr>
        <p:spPr bwMode="auto">
          <a:xfrm>
            <a:off x="3197523" y="2881436"/>
            <a:ext cx="2760312" cy="1628672"/>
          </a:xfrm>
          <a:prstGeom prst="roundRect">
            <a:avLst>
              <a:gd name="adj" fmla="val 13379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4AE7A336-5367-23F0-1CF7-C85F0974A083}"/>
              </a:ext>
            </a:extLst>
          </p:cNvPr>
          <p:cNvSpPr/>
          <p:nvPr userDrawn="1"/>
        </p:nvSpPr>
        <p:spPr bwMode="auto">
          <a:xfrm>
            <a:off x="6073030" y="2881436"/>
            <a:ext cx="2760312" cy="1628672"/>
          </a:xfrm>
          <a:prstGeom prst="roundRect">
            <a:avLst>
              <a:gd name="adj" fmla="val 1369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070181B6-ED75-00D8-9F67-0F22543FF428}"/>
              </a:ext>
            </a:extLst>
          </p:cNvPr>
          <p:cNvSpPr/>
          <p:nvPr userDrawn="1"/>
        </p:nvSpPr>
        <p:spPr bwMode="auto">
          <a:xfrm>
            <a:off x="322015" y="2881436"/>
            <a:ext cx="2760312" cy="1628672"/>
          </a:xfrm>
          <a:prstGeom prst="roundRect">
            <a:avLst>
              <a:gd name="adj" fmla="val 13379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в 2 строки для слайда с </a:t>
            </a:r>
            <a:r>
              <a:rPr lang="ru-RU" dirty="0" err="1">
                <a:effectLst/>
              </a:rPr>
              <a:t>хайлайтами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6" name="Текст 35">
            <a:extLst>
              <a:ext uri="{FF2B5EF4-FFF2-40B4-BE49-F238E27FC236}">
                <a16:creationId xmlns:a16="http://schemas.microsoft.com/office/drawing/2014/main" id="{49924900-4FCF-453B-6337-12318E08A4B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7451" y="1410464"/>
            <a:ext cx="1851312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журнальный вид.</a:t>
            </a:r>
            <a:endParaRPr lang="ru-RU" dirty="0"/>
          </a:p>
        </p:txBody>
      </p:sp>
      <p:sp>
        <p:nvSpPr>
          <p:cNvPr id="17" name="Текст 35">
            <a:extLst>
              <a:ext uri="{FF2B5EF4-FFF2-40B4-BE49-F238E27FC236}">
                <a16:creationId xmlns:a16="http://schemas.microsoft.com/office/drawing/2014/main" id="{BD98390C-A414-95F1-3B21-07CF710FA1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3869" y="1408277"/>
            <a:ext cx="1857600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журнальный вид.</a:t>
            </a:r>
            <a:endParaRPr lang="ru-RU" dirty="0"/>
          </a:p>
        </p:txBody>
      </p:sp>
      <p:sp>
        <p:nvSpPr>
          <p:cNvPr id="18" name="Текст 35">
            <a:extLst>
              <a:ext uri="{FF2B5EF4-FFF2-40B4-BE49-F238E27FC236}">
                <a16:creationId xmlns:a16="http://schemas.microsoft.com/office/drawing/2014/main" id="{0545B3E5-0571-02C3-FC58-8B0586778A1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92620" y="1408276"/>
            <a:ext cx="1857600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журнальный вид.</a:t>
            </a:r>
            <a:endParaRPr lang="ru-RU" dirty="0"/>
          </a:p>
        </p:txBody>
      </p:sp>
      <p:sp>
        <p:nvSpPr>
          <p:cNvPr id="40" name="Текст 35">
            <a:extLst>
              <a:ext uri="{FF2B5EF4-FFF2-40B4-BE49-F238E27FC236}">
                <a16:creationId xmlns:a16="http://schemas.microsoft.com/office/drawing/2014/main" id="{F011039E-C41F-B28D-D277-D264B29234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2303" y="3160310"/>
            <a:ext cx="1857600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журнальный вид.</a:t>
            </a:r>
            <a:endParaRPr lang="ru-RU" dirty="0"/>
          </a:p>
        </p:txBody>
      </p:sp>
      <p:sp>
        <p:nvSpPr>
          <p:cNvPr id="41" name="Текст 35">
            <a:extLst>
              <a:ext uri="{FF2B5EF4-FFF2-40B4-BE49-F238E27FC236}">
                <a16:creationId xmlns:a16="http://schemas.microsoft.com/office/drawing/2014/main" id="{2F999734-0656-3E7C-8279-C8F80159FA0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07189" y="3158123"/>
            <a:ext cx="1857600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журнальный вид.</a:t>
            </a:r>
            <a:endParaRPr lang="ru-RU" dirty="0"/>
          </a:p>
        </p:txBody>
      </p:sp>
      <p:sp>
        <p:nvSpPr>
          <p:cNvPr id="42" name="Текст 35">
            <a:extLst>
              <a:ext uri="{FF2B5EF4-FFF2-40B4-BE49-F238E27FC236}">
                <a16:creationId xmlns:a16="http://schemas.microsoft.com/office/drawing/2014/main" id="{097E5325-522F-8EAB-2737-DDA76497831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2620" y="3158122"/>
            <a:ext cx="1857600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39945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22B65329-E72E-A78C-0B4C-225B3E58376D}"/>
              </a:ext>
            </a:extLst>
          </p:cNvPr>
          <p:cNvSpPr/>
          <p:nvPr userDrawn="1"/>
        </p:nvSpPr>
        <p:spPr bwMode="auto">
          <a:xfrm>
            <a:off x="323851" y="1131887"/>
            <a:ext cx="2506424" cy="3384000"/>
          </a:xfrm>
          <a:prstGeom prst="roundRect">
            <a:avLst>
              <a:gd name="adj" fmla="val 8388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5D76D2AA-C688-F130-1C6F-26CA30153749}"/>
              </a:ext>
            </a:extLst>
          </p:cNvPr>
          <p:cNvSpPr/>
          <p:nvPr userDrawn="1"/>
        </p:nvSpPr>
        <p:spPr bwMode="auto">
          <a:xfrm>
            <a:off x="2938952" y="1131887"/>
            <a:ext cx="2506424" cy="3384000"/>
          </a:xfrm>
          <a:prstGeom prst="roundRect">
            <a:avLst>
              <a:gd name="adj" fmla="val 8388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3" name="Рисунок 11">
            <a:extLst>
              <a:ext uri="{FF2B5EF4-FFF2-40B4-BE49-F238E27FC236}">
                <a16:creationId xmlns:a16="http://schemas.microsoft.com/office/drawing/2014/main" id="{68115D29-161B-08CA-63B9-838C4B01CC8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62601" y="1158875"/>
            <a:ext cx="3254399" cy="3355200"/>
          </a:xfrm>
          <a:prstGeom prst="roundRect">
            <a:avLst>
              <a:gd name="adj" fmla="val 6082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dirty="0"/>
              <a:t>Фото</a:t>
            </a: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в 2 строки для слайда с </a:t>
            </a:r>
            <a:r>
              <a:rPr lang="ru-RU" dirty="0" err="1">
                <a:effectLst/>
              </a:rPr>
              <a:t>хайлайтами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6" name="Текст 35">
            <a:extLst>
              <a:ext uri="{FF2B5EF4-FFF2-40B4-BE49-F238E27FC236}">
                <a16:creationId xmlns:a16="http://schemas.microsoft.com/office/drawing/2014/main" id="{2CD88DDC-F438-8355-5FBC-2FAA804C65D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684" y="1410464"/>
            <a:ext cx="2149200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журнальный вид.</a:t>
            </a:r>
            <a:endParaRPr lang="ru-RU" dirty="0"/>
          </a:p>
        </p:txBody>
      </p:sp>
      <p:sp>
        <p:nvSpPr>
          <p:cNvPr id="17" name="Текст 35">
            <a:extLst>
              <a:ext uri="{FF2B5EF4-FFF2-40B4-BE49-F238E27FC236}">
                <a16:creationId xmlns:a16="http://schemas.microsoft.com/office/drawing/2014/main" id="{9F78308D-B077-1D19-E0F0-EE28C214C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57570" y="1408275"/>
            <a:ext cx="2151063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613833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A82ADF03-AD66-38B3-78B3-5A426E116766}"/>
              </a:ext>
            </a:extLst>
          </p:cNvPr>
          <p:cNvSpPr/>
          <p:nvPr userDrawn="1"/>
        </p:nvSpPr>
        <p:spPr bwMode="auto">
          <a:xfrm>
            <a:off x="323851" y="1131887"/>
            <a:ext cx="2506424" cy="3384000"/>
          </a:xfrm>
          <a:prstGeom prst="roundRect">
            <a:avLst>
              <a:gd name="adj" fmla="val 8388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4" name="Скругленный прямоугольник 13">
            <a:extLst>
              <a:ext uri="{FF2B5EF4-FFF2-40B4-BE49-F238E27FC236}">
                <a16:creationId xmlns:a16="http://schemas.microsoft.com/office/drawing/2014/main" id="{A678BCF8-07BA-7EB7-0544-A2903DCF0019}"/>
              </a:ext>
            </a:extLst>
          </p:cNvPr>
          <p:cNvSpPr/>
          <p:nvPr userDrawn="1"/>
        </p:nvSpPr>
        <p:spPr bwMode="auto">
          <a:xfrm>
            <a:off x="2938952" y="1131887"/>
            <a:ext cx="2506424" cy="3384000"/>
          </a:xfrm>
          <a:prstGeom prst="roundRect">
            <a:avLst>
              <a:gd name="adj" fmla="val 8388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в 2 строки для слайда с </a:t>
            </a:r>
            <a:r>
              <a:rPr lang="ru-RU" dirty="0" err="1">
                <a:effectLst/>
              </a:rPr>
              <a:t>хайлайтами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24DAF5A-7680-F390-BADB-847A8A8BFA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013730"/>
            <a:ext cx="2149200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журнальный вид.</a:t>
            </a:r>
            <a:endParaRPr lang="ru-RU" dirty="0"/>
          </a:p>
        </p:txBody>
      </p:sp>
      <p:sp>
        <p:nvSpPr>
          <p:cNvPr id="5" name="Текст 2">
            <a:extLst>
              <a:ext uri="{FF2B5EF4-FFF2-40B4-BE49-F238E27FC236}">
                <a16:creationId xmlns:a16="http://schemas.microsoft.com/office/drawing/2014/main" id="{64CC9FC2-EB39-53EA-6EBB-EE67428219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9584" y="2013730"/>
            <a:ext cx="2149200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журнальный вид.</a:t>
            </a:r>
            <a:endParaRPr lang="ru-RU" dirty="0"/>
          </a:p>
        </p:txBody>
      </p:sp>
      <p:sp>
        <p:nvSpPr>
          <p:cNvPr id="2" name="Текст 2">
            <a:extLst>
              <a:ext uri="{FF2B5EF4-FFF2-40B4-BE49-F238E27FC236}">
                <a16:creationId xmlns:a16="http://schemas.microsoft.com/office/drawing/2014/main" id="{451D8971-210B-4DA0-58BD-C5F245B2C28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7700" y="1498869"/>
            <a:ext cx="2149200" cy="302903"/>
          </a:xfrm>
        </p:spPr>
        <p:txBody>
          <a:bodyPr anchor="ctr">
            <a:spAutoFit/>
          </a:bodyPr>
          <a:lstStyle>
            <a:lvl1pPr marL="0" algn="l" defTabSz="778986" rtl="0" eaLnBrk="1" latinLnBrk="0" hangingPunct="1">
              <a:lnSpc>
                <a:spcPct val="100000"/>
              </a:lnSpc>
              <a:defRPr lang="ru-RU" sz="2800" b="0" i="0" kern="1200" dirty="0">
                <a:solidFill>
                  <a:schemeClr val="accent1"/>
                </a:solidFill>
                <a:effectLst/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</a:lstStyle>
          <a:p>
            <a:pPr marL="0" lv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ХХХХ</a:t>
            </a:r>
            <a:endParaRPr lang="ru-RU" dirty="0"/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B0248662-F4F6-C09E-BEC7-51381B5A658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49584" y="1498869"/>
            <a:ext cx="2149200" cy="302903"/>
          </a:xfrm>
        </p:spPr>
        <p:txBody>
          <a:bodyPr anchor="ctr">
            <a:spAutoFit/>
          </a:bodyPr>
          <a:lstStyle>
            <a:lvl1pPr marL="0" algn="l" defTabSz="778986" rtl="0" eaLnBrk="1" latinLnBrk="0" hangingPunct="1">
              <a:lnSpc>
                <a:spcPct val="100000"/>
              </a:lnSpc>
              <a:defRPr lang="ru-RU" sz="2800" b="0" i="0" kern="1200" dirty="0">
                <a:solidFill>
                  <a:schemeClr val="accent1"/>
                </a:solidFill>
                <a:effectLst/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</a:lstStyle>
          <a:p>
            <a:pPr marL="0" lv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ХХХХ</a:t>
            </a:r>
            <a:endParaRPr lang="ru-RU" dirty="0"/>
          </a:p>
        </p:txBody>
      </p:sp>
      <p:sp>
        <p:nvSpPr>
          <p:cNvPr id="13" name="Рисунок 11">
            <a:extLst>
              <a:ext uri="{FF2B5EF4-FFF2-40B4-BE49-F238E27FC236}">
                <a16:creationId xmlns:a16="http://schemas.microsoft.com/office/drawing/2014/main" id="{D5B335C1-C492-FB86-A08B-81C9109AB5F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62601" y="1158875"/>
            <a:ext cx="3254399" cy="3355200"/>
          </a:xfrm>
          <a:prstGeom prst="roundRect">
            <a:avLst>
              <a:gd name="adj" fmla="val 6082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3662530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A9DC22E3-716F-9381-83A7-6646285508C3}"/>
              </a:ext>
            </a:extLst>
          </p:cNvPr>
          <p:cNvSpPr/>
          <p:nvPr userDrawn="1"/>
        </p:nvSpPr>
        <p:spPr bwMode="auto">
          <a:xfrm>
            <a:off x="5201659" y="2951493"/>
            <a:ext cx="3610800" cy="1656000"/>
          </a:xfrm>
          <a:prstGeom prst="roundRect">
            <a:avLst>
              <a:gd name="adj" fmla="val 11027"/>
            </a:avLst>
          </a:prstGeom>
          <a:gradFill>
            <a:gsLst>
              <a:gs pos="0">
                <a:srgbClr val="00737A"/>
              </a:gs>
              <a:gs pos="54000">
                <a:schemeClr val="accent1"/>
              </a:gs>
              <a:gs pos="97000">
                <a:schemeClr val="accent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5" name="Рисунок 12">
            <a:extLst>
              <a:ext uri="{FF2B5EF4-FFF2-40B4-BE49-F238E27FC236}">
                <a16:creationId xmlns:a16="http://schemas.microsoft.com/office/drawing/2014/main" id="{C16CB9E6-B139-ACBA-CC0B-B021DA3DEBD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28576" y="1143318"/>
            <a:ext cx="4733930" cy="1656000"/>
          </a:xfrm>
          <a:prstGeom prst="roundRect">
            <a:avLst>
              <a:gd name="adj" fmla="val 8502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marL="0" algn="l" defTabSz="778986" rtl="0" eaLnBrk="1" fontAlgn="base" latinLnBrk="0" hangingPunct="1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Длинный заголовок в 2 строки для слайда</a:t>
            </a:r>
            <a:br>
              <a:rPr lang="ru-RU" dirty="0"/>
            </a:br>
            <a:r>
              <a:rPr lang="ru-RU" dirty="0"/>
              <a:t>с цифрами и изображением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Текст 35">
            <a:extLst>
              <a:ext uri="{FF2B5EF4-FFF2-40B4-BE49-F238E27FC236}">
                <a16:creationId xmlns:a16="http://schemas.microsoft.com/office/drawing/2014/main" id="{41CFEA1C-3EF2-318E-6958-2CF78E31E1C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43550" y="3183510"/>
            <a:ext cx="2952750" cy="461665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BA19B20-D912-0521-8C11-A69A24C12E6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201659" y="1143318"/>
            <a:ext cx="3610800" cy="1656000"/>
          </a:xfrm>
          <a:prstGeom prst="roundRect">
            <a:avLst>
              <a:gd name="adj" fmla="val 8502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6" name="Рисунок 12">
            <a:extLst>
              <a:ext uri="{FF2B5EF4-FFF2-40B4-BE49-F238E27FC236}">
                <a16:creationId xmlns:a16="http://schemas.microsoft.com/office/drawing/2014/main" id="{3B368BEB-47ED-354B-E729-144808312C2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23528" y="2951493"/>
            <a:ext cx="4726867" cy="1656000"/>
          </a:xfrm>
          <a:prstGeom prst="roundRect">
            <a:avLst>
              <a:gd name="adj" fmla="val 8502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0979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069DB69F-6DF5-6ECD-3DD5-A434021A3C91}"/>
              </a:ext>
            </a:extLst>
          </p:cNvPr>
          <p:cNvSpPr/>
          <p:nvPr userDrawn="1"/>
        </p:nvSpPr>
        <p:spPr bwMode="auto">
          <a:xfrm>
            <a:off x="3257613" y="1131888"/>
            <a:ext cx="2772000" cy="1443600"/>
          </a:xfrm>
          <a:prstGeom prst="roundRect">
            <a:avLst>
              <a:gd name="adj" fmla="val 1360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6315BD02-8273-5452-23DD-A5C2DD4EF1A3}"/>
              </a:ext>
            </a:extLst>
          </p:cNvPr>
          <p:cNvSpPr/>
          <p:nvPr userDrawn="1"/>
        </p:nvSpPr>
        <p:spPr bwMode="auto">
          <a:xfrm>
            <a:off x="6228184" y="1175657"/>
            <a:ext cx="2592388" cy="3356586"/>
          </a:xfrm>
          <a:prstGeom prst="roundRect">
            <a:avLst>
              <a:gd name="adj" fmla="val 8999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BA0AE4D8-537B-14BA-F3CF-0B0942AD8F0B}"/>
              </a:ext>
            </a:extLst>
          </p:cNvPr>
          <p:cNvSpPr/>
          <p:nvPr userDrawn="1"/>
        </p:nvSpPr>
        <p:spPr bwMode="auto">
          <a:xfrm>
            <a:off x="323527" y="2697389"/>
            <a:ext cx="5719463" cy="1819049"/>
          </a:xfrm>
          <a:prstGeom prst="roundRect">
            <a:avLst>
              <a:gd name="adj" fmla="val 13600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R="0" lvl="0" indent="0" defTabSz="9144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14" name="Скругленный прямоугольник 13">
            <a:extLst>
              <a:ext uri="{FF2B5EF4-FFF2-40B4-BE49-F238E27FC236}">
                <a16:creationId xmlns:a16="http://schemas.microsoft.com/office/drawing/2014/main" id="{D233B059-A905-A9BB-65C2-5D5EFFB89F0B}"/>
              </a:ext>
            </a:extLst>
          </p:cNvPr>
          <p:cNvSpPr/>
          <p:nvPr userDrawn="1"/>
        </p:nvSpPr>
        <p:spPr bwMode="auto">
          <a:xfrm>
            <a:off x="323528" y="1131888"/>
            <a:ext cx="2767542" cy="1447814"/>
          </a:xfrm>
          <a:prstGeom prst="roundRect">
            <a:avLst>
              <a:gd name="adj" fmla="val 13600"/>
            </a:avLst>
          </a:prstGeom>
          <a:gradFill>
            <a:gsLst>
              <a:gs pos="58006">
                <a:schemeClr val="tx1">
                  <a:lumMod val="90000"/>
                  <a:lumOff val="10000"/>
                </a:schemeClr>
              </a:gs>
              <a:gs pos="0">
                <a:schemeClr val="tx1"/>
              </a:gs>
              <a:gs pos="97000">
                <a:schemeClr val="tx1">
                  <a:lumMod val="90000"/>
                  <a:lumOff val="10000"/>
                </a:scheme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Длинный заголовок в 2 строки для слайда</a:t>
            </a:r>
            <a:br>
              <a:rPr lang="ru-RU" dirty="0"/>
            </a:br>
            <a:r>
              <a:rPr lang="ru-RU" dirty="0"/>
              <a:t>с цифрами и изображением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0" name="Текст 2">
            <a:extLst>
              <a:ext uri="{FF2B5EF4-FFF2-40B4-BE49-F238E27FC236}">
                <a16:creationId xmlns:a16="http://schemas.microsoft.com/office/drawing/2014/main" id="{0129ECED-7AF7-3AA5-0D0C-887450EFDF1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68028" y="3003798"/>
            <a:ext cx="2399371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2" name="Рисунок 14">
            <a:extLst>
              <a:ext uri="{FF2B5EF4-FFF2-40B4-BE49-F238E27FC236}">
                <a16:creationId xmlns:a16="http://schemas.microsoft.com/office/drawing/2014/main" id="{CD5B9BB9-547C-3D4A-C802-21913A67F27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23527" y="2695617"/>
            <a:ext cx="2772000" cy="1821600"/>
          </a:xfrm>
          <a:prstGeom prst="roundRect">
            <a:avLst>
              <a:gd name="adj" fmla="val 13617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06FDF8C7-6011-450F-5190-D074A82C0FB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33532" y="1129885"/>
            <a:ext cx="2583116" cy="1443600"/>
          </a:xfrm>
          <a:prstGeom prst="roundRect">
            <a:avLst>
              <a:gd name="adj" fmla="val 14251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7" name="Текст 2">
            <a:extLst>
              <a:ext uri="{FF2B5EF4-FFF2-40B4-BE49-F238E27FC236}">
                <a16:creationId xmlns:a16="http://schemas.microsoft.com/office/drawing/2014/main" id="{8A1FB71B-3D6B-E14B-2094-CD1B858D95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" y="1347614"/>
            <a:ext cx="2262768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8" name="Текст 2">
            <a:extLst>
              <a:ext uri="{FF2B5EF4-FFF2-40B4-BE49-F238E27FC236}">
                <a16:creationId xmlns:a16="http://schemas.microsoft.com/office/drawing/2014/main" id="{950D4813-C5AE-D9D6-D15E-46EFC03C100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91880" y="1347614"/>
            <a:ext cx="2375520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9" name="Текст 2">
            <a:extLst>
              <a:ext uri="{FF2B5EF4-FFF2-40B4-BE49-F238E27FC236}">
                <a16:creationId xmlns:a16="http://schemas.microsoft.com/office/drawing/2014/main" id="{3A5E045F-6C04-8B9C-DDB8-FB47715F0D3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516216" y="2919416"/>
            <a:ext cx="1851991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52134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Скругленный прямоугольник 16">
            <a:extLst>
              <a:ext uri="{FF2B5EF4-FFF2-40B4-BE49-F238E27FC236}">
                <a16:creationId xmlns:a16="http://schemas.microsoft.com/office/drawing/2014/main" id="{B46A5456-44C7-F9B7-9215-9C89DF07D9C8}"/>
              </a:ext>
            </a:extLst>
          </p:cNvPr>
          <p:cNvSpPr/>
          <p:nvPr userDrawn="1"/>
        </p:nvSpPr>
        <p:spPr bwMode="auto">
          <a:xfrm>
            <a:off x="6228184" y="1175657"/>
            <a:ext cx="2592388" cy="3356586"/>
          </a:xfrm>
          <a:prstGeom prst="roundRect">
            <a:avLst>
              <a:gd name="adj" fmla="val 8999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9D765F0E-4B47-7408-A9B2-9060154A8515}"/>
              </a:ext>
            </a:extLst>
          </p:cNvPr>
          <p:cNvSpPr/>
          <p:nvPr userDrawn="1"/>
        </p:nvSpPr>
        <p:spPr bwMode="auto">
          <a:xfrm>
            <a:off x="3257613" y="1131888"/>
            <a:ext cx="2772000" cy="1443600"/>
          </a:xfrm>
          <a:prstGeom prst="roundRect">
            <a:avLst>
              <a:gd name="adj" fmla="val 1360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44EEA5D9-E918-6212-EA00-25C66868939D}"/>
              </a:ext>
            </a:extLst>
          </p:cNvPr>
          <p:cNvSpPr/>
          <p:nvPr userDrawn="1"/>
        </p:nvSpPr>
        <p:spPr bwMode="auto">
          <a:xfrm>
            <a:off x="323527" y="2697389"/>
            <a:ext cx="5719463" cy="1819049"/>
          </a:xfrm>
          <a:prstGeom prst="roundRect">
            <a:avLst>
              <a:gd name="adj" fmla="val 13600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R="0" lvl="0" indent="0" defTabSz="9144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id="{8AF016AD-E766-5A4A-303B-2D1DFCECCCCB}"/>
              </a:ext>
            </a:extLst>
          </p:cNvPr>
          <p:cNvSpPr/>
          <p:nvPr userDrawn="1"/>
        </p:nvSpPr>
        <p:spPr bwMode="auto">
          <a:xfrm>
            <a:off x="323528" y="1131888"/>
            <a:ext cx="2767542" cy="1447814"/>
          </a:xfrm>
          <a:prstGeom prst="roundRect">
            <a:avLst>
              <a:gd name="adj" fmla="val 13600"/>
            </a:avLst>
          </a:prstGeom>
          <a:gradFill>
            <a:gsLst>
              <a:gs pos="58006">
                <a:schemeClr val="tx1">
                  <a:lumMod val="90000"/>
                  <a:lumOff val="10000"/>
                </a:schemeClr>
              </a:gs>
              <a:gs pos="0">
                <a:schemeClr val="tx1"/>
              </a:gs>
              <a:gs pos="97000">
                <a:schemeClr val="tx1">
                  <a:lumMod val="90000"/>
                  <a:lumOff val="10000"/>
                </a:scheme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59A1D999-F65F-C53E-D42F-ED6F39486BE4}"/>
              </a:ext>
            </a:extLst>
          </p:cNvPr>
          <p:cNvSpPr/>
          <p:nvPr userDrawn="1"/>
        </p:nvSpPr>
        <p:spPr bwMode="auto">
          <a:xfrm>
            <a:off x="3206281" y="1131888"/>
            <a:ext cx="2836709" cy="165795"/>
          </a:xfrm>
          <a:prstGeom prst="roundRect">
            <a:avLst>
              <a:gd name="adj" fmla="val 13600"/>
            </a:avLst>
          </a:prstGeom>
        </p:spPr>
        <p:txBody>
          <a:bodyPr vert="horz" lIns="0" tIns="0" rIns="0" bIns="0" rtlCol="0">
            <a:spAutoFit/>
          </a:bodyPr>
          <a:lstStyle/>
          <a:p>
            <a:pPr lvl="0" indent="0" fontAlgn="base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endParaRPr lang="ru-RU" sz="1000" b="0" i="0" dirty="0">
              <a:effectLst/>
              <a:latin typeface="Arial" panose="020B0604020202020204" pitchFamily="34" charset="0"/>
              <a:ea typeface="Roboto Regular" pitchFamily="34" charset="-122"/>
              <a:cs typeface="Arial" panose="020B0604020202020204" pitchFamily="34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Длинный заголовок в 2 строки для слайда</a:t>
            </a:r>
            <a:br>
              <a:rPr lang="ru-RU" dirty="0"/>
            </a:br>
            <a:r>
              <a:rPr lang="ru-RU" dirty="0"/>
              <a:t>с цифрами и изображением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id="{071A88E8-AD79-C5C4-84A0-07F83BB36B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" y="1347614"/>
            <a:ext cx="2262768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30" name="Текст 2">
            <a:extLst>
              <a:ext uri="{FF2B5EF4-FFF2-40B4-BE49-F238E27FC236}">
                <a16:creationId xmlns:a16="http://schemas.microsoft.com/office/drawing/2014/main" id="{0129ECED-7AF7-3AA5-0D0C-887450EFDF1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7700" y="3003798"/>
            <a:ext cx="5219700" cy="461665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9931B298-A14C-4AF6-1991-ED706816AE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91880" y="1347614"/>
            <a:ext cx="2375520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3" name="Рисунок 14">
            <a:extLst>
              <a:ext uri="{FF2B5EF4-FFF2-40B4-BE49-F238E27FC236}">
                <a16:creationId xmlns:a16="http://schemas.microsoft.com/office/drawing/2014/main" id="{36EF89AC-AC91-C4C6-838E-05D8F1EE703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33532" y="1129885"/>
            <a:ext cx="2583116" cy="1443600"/>
          </a:xfrm>
          <a:prstGeom prst="roundRect">
            <a:avLst>
              <a:gd name="adj" fmla="val 14251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5" name="Текст 2">
            <a:extLst>
              <a:ext uri="{FF2B5EF4-FFF2-40B4-BE49-F238E27FC236}">
                <a16:creationId xmlns:a16="http://schemas.microsoft.com/office/drawing/2014/main" id="{A3A4660D-C035-B87E-24EA-7053C49D071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516216" y="2919416"/>
            <a:ext cx="1851991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1278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1545CAE4-2CEF-BF7F-1CC4-21AB4B1AEB73}"/>
              </a:ext>
            </a:extLst>
          </p:cNvPr>
          <p:cNvSpPr/>
          <p:nvPr userDrawn="1"/>
        </p:nvSpPr>
        <p:spPr bwMode="auto">
          <a:xfrm>
            <a:off x="3257613" y="1131888"/>
            <a:ext cx="2772000" cy="1443600"/>
          </a:xfrm>
          <a:prstGeom prst="roundRect">
            <a:avLst>
              <a:gd name="adj" fmla="val 1360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10FF2549-8B8D-253C-4A13-134B914D81F5}"/>
              </a:ext>
            </a:extLst>
          </p:cNvPr>
          <p:cNvSpPr/>
          <p:nvPr userDrawn="1"/>
        </p:nvSpPr>
        <p:spPr bwMode="auto">
          <a:xfrm>
            <a:off x="323527" y="2697389"/>
            <a:ext cx="5719463" cy="1819049"/>
          </a:xfrm>
          <a:prstGeom prst="roundRect">
            <a:avLst>
              <a:gd name="adj" fmla="val 13600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R="0" lvl="0" indent="0" defTabSz="9144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14" name="Скругленный прямоугольник 13">
            <a:extLst>
              <a:ext uri="{FF2B5EF4-FFF2-40B4-BE49-F238E27FC236}">
                <a16:creationId xmlns:a16="http://schemas.microsoft.com/office/drawing/2014/main" id="{8F572B62-5103-F39D-AECD-2775A1037C52}"/>
              </a:ext>
            </a:extLst>
          </p:cNvPr>
          <p:cNvSpPr/>
          <p:nvPr userDrawn="1"/>
        </p:nvSpPr>
        <p:spPr bwMode="auto">
          <a:xfrm>
            <a:off x="323528" y="1131888"/>
            <a:ext cx="2767542" cy="1447814"/>
          </a:xfrm>
          <a:prstGeom prst="roundRect">
            <a:avLst>
              <a:gd name="adj" fmla="val 13600"/>
            </a:avLst>
          </a:prstGeom>
          <a:gradFill>
            <a:gsLst>
              <a:gs pos="58006">
                <a:schemeClr val="tx1">
                  <a:lumMod val="90000"/>
                  <a:lumOff val="10000"/>
                </a:schemeClr>
              </a:gs>
              <a:gs pos="0">
                <a:schemeClr val="tx1"/>
              </a:gs>
              <a:gs pos="97000">
                <a:schemeClr val="tx1">
                  <a:lumMod val="90000"/>
                  <a:lumOff val="10000"/>
                </a:scheme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Длинный заголовок в 2 строки для слайда</a:t>
            </a:r>
            <a:br>
              <a:rPr lang="ru-RU" dirty="0"/>
            </a:br>
            <a:r>
              <a:rPr lang="ru-RU" dirty="0"/>
              <a:t>с цифрами и изображением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0" name="Текст 2">
            <a:extLst>
              <a:ext uri="{FF2B5EF4-FFF2-40B4-BE49-F238E27FC236}">
                <a16:creationId xmlns:a16="http://schemas.microsoft.com/office/drawing/2014/main" id="{0129ECED-7AF7-3AA5-0D0C-887450EFDF1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68028" y="3003798"/>
            <a:ext cx="2399371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2" name="Рисунок 14">
            <a:extLst>
              <a:ext uri="{FF2B5EF4-FFF2-40B4-BE49-F238E27FC236}">
                <a16:creationId xmlns:a16="http://schemas.microsoft.com/office/drawing/2014/main" id="{CD5B9BB9-547C-3D4A-C802-21913A67F27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23527" y="2695617"/>
            <a:ext cx="2772000" cy="1821600"/>
          </a:xfrm>
          <a:prstGeom prst="roundRect">
            <a:avLst>
              <a:gd name="adj" fmla="val 13617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0E31B4C2-10B7-9799-1637-4563BD0FD0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" y="1347614"/>
            <a:ext cx="2262768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30484DBD-0AF9-9DAD-7D20-08D40FE9BB7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91880" y="1347614"/>
            <a:ext cx="2375520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69A1D2AB-EC17-6318-DD5B-9CF6E874205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33532" y="1129886"/>
            <a:ext cx="2583116" cy="3395805"/>
          </a:xfrm>
          <a:prstGeom prst="roundRect">
            <a:avLst>
              <a:gd name="adj" fmla="val 8630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313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EA906310-6456-797C-E0A0-CF0700AA9B36}"/>
              </a:ext>
            </a:extLst>
          </p:cNvPr>
          <p:cNvSpPr/>
          <p:nvPr userDrawn="1"/>
        </p:nvSpPr>
        <p:spPr bwMode="auto">
          <a:xfrm>
            <a:off x="6228184" y="1175657"/>
            <a:ext cx="2592388" cy="3356586"/>
          </a:xfrm>
          <a:prstGeom prst="roundRect">
            <a:avLst>
              <a:gd name="adj" fmla="val 1044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FF92EC85-CD1F-2CF8-9E22-BDEB9EE67B3E}"/>
              </a:ext>
            </a:extLst>
          </p:cNvPr>
          <p:cNvSpPr/>
          <p:nvPr userDrawn="1"/>
        </p:nvSpPr>
        <p:spPr bwMode="auto">
          <a:xfrm>
            <a:off x="3784922" y="2697389"/>
            <a:ext cx="2281218" cy="1819049"/>
          </a:xfrm>
          <a:prstGeom prst="roundRect">
            <a:avLst>
              <a:gd name="adj" fmla="val 13450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R="0" lvl="0" indent="0" defTabSz="9144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EDA46488-19A4-2F0B-206B-DCCB35464FC6}"/>
              </a:ext>
            </a:extLst>
          </p:cNvPr>
          <p:cNvSpPr/>
          <p:nvPr userDrawn="1"/>
        </p:nvSpPr>
        <p:spPr bwMode="auto">
          <a:xfrm>
            <a:off x="3784922" y="1131888"/>
            <a:ext cx="2256266" cy="1368000"/>
          </a:xfrm>
          <a:prstGeom prst="roundRect">
            <a:avLst>
              <a:gd name="adj" fmla="val 17044"/>
            </a:avLst>
          </a:prstGeom>
          <a:gradFill>
            <a:gsLst>
              <a:gs pos="58006">
                <a:schemeClr val="tx1">
                  <a:lumMod val="90000"/>
                  <a:lumOff val="10000"/>
                </a:schemeClr>
              </a:gs>
              <a:gs pos="0">
                <a:schemeClr val="tx1"/>
              </a:gs>
              <a:gs pos="97000">
                <a:schemeClr val="tx1">
                  <a:lumMod val="90000"/>
                  <a:lumOff val="10000"/>
                </a:scheme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8" name="Рисунок 14">
            <a:extLst>
              <a:ext uri="{FF2B5EF4-FFF2-40B4-BE49-F238E27FC236}">
                <a16:creationId xmlns:a16="http://schemas.microsoft.com/office/drawing/2014/main" id="{059A0278-7DB1-2A2E-904F-9B43D002583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33532" y="1129885"/>
            <a:ext cx="2583116" cy="1443600"/>
          </a:xfrm>
          <a:prstGeom prst="roundRect">
            <a:avLst>
              <a:gd name="adj" fmla="val 14251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5" name="Рисунок 14">
            <a:extLst>
              <a:ext uri="{FF2B5EF4-FFF2-40B4-BE49-F238E27FC236}">
                <a16:creationId xmlns:a16="http://schemas.microsoft.com/office/drawing/2014/main" id="{53873610-F31F-F895-BEC8-03F659A7325F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23527" y="1123260"/>
            <a:ext cx="3274438" cy="3395805"/>
          </a:xfrm>
          <a:prstGeom prst="roundRect">
            <a:avLst>
              <a:gd name="adj" fmla="val 6202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Длинный заголовок в 2 строки для слайда</a:t>
            </a:r>
            <a:br>
              <a:rPr lang="ru-RU" dirty="0"/>
            </a:br>
            <a:r>
              <a:rPr lang="ru-RU" dirty="0"/>
              <a:t>с цифрами и изображением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id="{071A88E8-AD79-C5C4-84A0-07F83BB36B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04751" y="1308536"/>
            <a:ext cx="1902405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журнальный вид.</a:t>
            </a:r>
            <a:endParaRPr lang="ru-RU" dirty="0"/>
          </a:p>
        </p:txBody>
      </p:sp>
      <p:sp>
        <p:nvSpPr>
          <p:cNvPr id="30" name="Текст 2">
            <a:extLst>
              <a:ext uri="{FF2B5EF4-FFF2-40B4-BE49-F238E27FC236}">
                <a16:creationId xmlns:a16="http://schemas.microsoft.com/office/drawing/2014/main" id="{0129ECED-7AF7-3AA5-0D0C-887450EFDF1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04751" y="2919416"/>
            <a:ext cx="1851991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журнальный вид.</a:t>
            </a:r>
            <a:endParaRPr lang="ru-RU" dirty="0"/>
          </a:p>
        </p:txBody>
      </p:sp>
      <p:sp>
        <p:nvSpPr>
          <p:cNvPr id="2" name="Текст 2">
            <a:extLst>
              <a:ext uri="{FF2B5EF4-FFF2-40B4-BE49-F238E27FC236}">
                <a16:creationId xmlns:a16="http://schemas.microsoft.com/office/drawing/2014/main" id="{96AEF5A5-C874-FCC8-E0B8-1840107E1EA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516216" y="2919416"/>
            <a:ext cx="1851991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838371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5651F4F9-7E12-3889-3251-54B235B432D8}"/>
              </a:ext>
            </a:extLst>
          </p:cNvPr>
          <p:cNvSpPr/>
          <p:nvPr userDrawn="1"/>
        </p:nvSpPr>
        <p:spPr bwMode="auto">
          <a:xfrm>
            <a:off x="3257613" y="1131888"/>
            <a:ext cx="2772000" cy="1443600"/>
          </a:xfrm>
          <a:prstGeom prst="roundRect">
            <a:avLst>
              <a:gd name="adj" fmla="val 1360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946DFA35-7650-ECA9-9753-FBE52E861DBD}"/>
              </a:ext>
            </a:extLst>
          </p:cNvPr>
          <p:cNvSpPr/>
          <p:nvPr userDrawn="1"/>
        </p:nvSpPr>
        <p:spPr bwMode="auto">
          <a:xfrm>
            <a:off x="323528" y="1131888"/>
            <a:ext cx="2767542" cy="1447814"/>
          </a:xfrm>
          <a:prstGeom prst="roundRect">
            <a:avLst>
              <a:gd name="adj" fmla="val 13600"/>
            </a:avLst>
          </a:prstGeom>
          <a:gradFill>
            <a:gsLst>
              <a:gs pos="58006">
                <a:schemeClr val="tx1">
                  <a:lumMod val="90000"/>
                  <a:lumOff val="10000"/>
                </a:schemeClr>
              </a:gs>
              <a:gs pos="0">
                <a:schemeClr val="tx1"/>
              </a:gs>
              <a:gs pos="97000">
                <a:schemeClr val="tx1">
                  <a:lumMod val="90000"/>
                  <a:lumOff val="10000"/>
                </a:scheme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6BCB0400-F8A8-1BBD-6E28-DF0B2C9110BB}"/>
              </a:ext>
            </a:extLst>
          </p:cNvPr>
          <p:cNvSpPr/>
          <p:nvPr userDrawn="1"/>
        </p:nvSpPr>
        <p:spPr bwMode="auto">
          <a:xfrm>
            <a:off x="323527" y="2697389"/>
            <a:ext cx="8507957" cy="1819049"/>
          </a:xfrm>
          <a:prstGeom prst="roundRect">
            <a:avLst>
              <a:gd name="adj" fmla="val 12804"/>
            </a:avLst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36018">
                <a:schemeClr val="accent3">
                  <a:lumMod val="40000"/>
                  <a:lumOff val="60000"/>
                </a:schemeClr>
              </a:gs>
              <a:gs pos="80000">
                <a:schemeClr val="accent3">
                  <a:lumMod val="20000"/>
                  <a:lumOff val="80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8" name="Рисунок 14">
            <a:extLst>
              <a:ext uri="{FF2B5EF4-FFF2-40B4-BE49-F238E27FC236}">
                <a16:creationId xmlns:a16="http://schemas.microsoft.com/office/drawing/2014/main" id="{059A0278-7DB1-2A2E-904F-9B43D002583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33532" y="1129885"/>
            <a:ext cx="2583116" cy="1443600"/>
          </a:xfrm>
          <a:prstGeom prst="roundRect">
            <a:avLst>
              <a:gd name="adj" fmla="val 14251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Длинный заголовок в 2 строки для слайда</a:t>
            </a:r>
            <a:br>
              <a:rPr lang="ru-RU" dirty="0"/>
            </a:br>
            <a:r>
              <a:rPr lang="ru-RU" dirty="0"/>
              <a:t>с цифрами и изображением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2" name="Рисунок 14">
            <a:extLst>
              <a:ext uri="{FF2B5EF4-FFF2-40B4-BE49-F238E27FC236}">
                <a16:creationId xmlns:a16="http://schemas.microsoft.com/office/drawing/2014/main" id="{1DF55D25-E659-2FF4-9CA7-47FE183B26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23527" y="2695617"/>
            <a:ext cx="2772000" cy="1821600"/>
          </a:xfrm>
          <a:prstGeom prst="roundRect">
            <a:avLst>
              <a:gd name="adj" fmla="val 13617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23" name="Текст 2">
            <a:extLst>
              <a:ext uri="{FF2B5EF4-FFF2-40B4-BE49-F238E27FC236}">
                <a16:creationId xmlns:a16="http://schemas.microsoft.com/office/drawing/2014/main" id="{AD3ED641-F6BD-4ED6-4521-DD6046EC567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97526" y="2934223"/>
            <a:ext cx="2469874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0EFF3727-F4F4-DC40-923B-6B80EF35E9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8184" y="2931790"/>
            <a:ext cx="2469874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26" name="Текст 2">
            <a:extLst>
              <a:ext uri="{FF2B5EF4-FFF2-40B4-BE49-F238E27FC236}">
                <a16:creationId xmlns:a16="http://schemas.microsoft.com/office/drawing/2014/main" id="{10558904-71BF-8421-5641-D078EAF8948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" y="1347614"/>
            <a:ext cx="2262768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27" name="Текст 2">
            <a:extLst>
              <a:ext uri="{FF2B5EF4-FFF2-40B4-BE49-F238E27FC236}">
                <a16:creationId xmlns:a16="http://schemas.microsoft.com/office/drawing/2014/main" id="{A6E0C9CE-CF25-B1B5-6A96-B8B3DF8852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91880" y="1347614"/>
            <a:ext cx="2375520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43177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78860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DB952D8E-7110-5085-790F-F141E406EC0B}"/>
              </a:ext>
            </a:extLst>
          </p:cNvPr>
          <p:cNvSpPr/>
          <p:nvPr userDrawn="1"/>
        </p:nvSpPr>
        <p:spPr bwMode="auto">
          <a:xfrm>
            <a:off x="6228184" y="1175657"/>
            <a:ext cx="2592388" cy="3356586"/>
          </a:xfrm>
          <a:prstGeom prst="roundRect">
            <a:avLst>
              <a:gd name="adj" fmla="val 8999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AE7C5C6C-D558-9C10-54D3-2B8DEE71C45E}"/>
              </a:ext>
            </a:extLst>
          </p:cNvPr>
          <p:cNvSpPr/>
          <p:nvPr userDrawn="1"/>
        </p:nvSpPr>
        <p:spPr bwMode="auto">
          <a:xfrm>
            <a:off x="3257613" y="1131888"/>
            <a:ext cx="2772000" cy="1443600"/>
          </a:xfrm>
          <a:prstGeom prst="roundRect">
            <a:avLst>
              <a:gd name="adj" fmla="val 1360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91256754-C23D-9F71-59B8-513D1DC41399}"/>
              </a:ext>
            </a:extLst>
          </p:cNvPr>
          <p:cNvSpPr/>
          <p:nvPr userDrawn="1"/>
        </p:nvSpPr>
        <p:spPr bwMode="auto">
          <a:xfrm>
            <a:off x="323527" y="2697389"/>
            <a:ext cx="5719463" cy="1819049"/>
          </a:xfrm>
          <a:prstGeom prst="roundRect">
            <a:avLst>
              <a:gd name="adj" fmla="val 13600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R="0" lvl="0" indent="0" defTabSz="9144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99C8FB25-83D2-46F4-E2D1-FF6F8FF75860}"/>
              </a:ext>
            </a:extLst>
          </p:cNvPr>
          <p:cNvSpPr/>
          <p:nvPr userDrawn="1"/>
        </p:nvSpPr>
        <p:spPr bwMode="auto">
          <a:xfrm>
            <a:off x="323528" y="1131888"/>
            <a:ext cx="2767542" cy="1447814"/>
          </a:xfrm>
          <a:prstGeom prst="roundRect">
            <a:avLst>
              <a:gd name="adj" fmla="val 13600"/>
            </a:avLst>
          </a:prstGeom>
          <a:gradFill>
            <a:gsLst>
              <a:gs pos="0">
                <a:srgbClr val="00737A"/>
              </a:gs>
              <a:gs pos="54000">
                <a:schemeClr val="accent1"/>
              </a:gs>
              <a:gs pos="97000">
                <a:schemeClr val="accent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8" name="Рисунок 14">
            <a:extLst>
              <a:ext uri="{FF2B5EF4-FFF2-40B4-BE49-F238E27FC236}">
                <a16:creationId xmlns:a16="http://schemas.microsoft.com/office/drawing/2014/main" id="{059A0278-7DB1-2A2E-904F-9B43D002583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33532" y="1129885"/>
            <a:ext cx="2583116" cy="1443600"/>
          </a:xfrm>
          <a:prstGeom prst="roundRect">
            <a:avLst>
              <a:gd name="adj" fmla="val 14251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Длинный заголовок в 2 строки для слайда</a:t>
            </a:r>
            <a:br>
              <a:rPr lang="ru-RU" dirty="0"/>
            </a:br>
            <a:r>
              <a:rPr lang="ru-RU" dirty="0"/>
              <a:t>с цифрами и изображением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2" name="Рисунок 14">
            <a:extLst>
              <a:ext uri="{FF2B5EF4-FFF2-40B4-BE49-F238E27FC236}">
                <a16:creationId xmlns:a16="http://schemas.microsoft.com/office/drawing/2014/main" id="{1DF55D25-E659-2FF4-9CA7-47FE183B26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23527" y="2695617"/>
            <a:ext cx="2772000" cy="1821600"/>
          </a:xfrm>
          <a:prstGeom prst="roundRect">
            <a:avLst>
              <a:gd name="adj" fmla="val 13617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26" name="Текст 2">
            <a:extLst>
              <a:ext uri="{FF2B5EF4-FFF2-40B4-BE49-F238E27FC236}">
                <a16:creationId xmlns:a16="http://schemas.microsoft.com/office/drawing/2014/main" id="{10558904-71BF-8421-5641-D078EAF8948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" y="1347614"/>
            <a:ext cx="2262768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27" name="Текст 2">
            <a:extLst>
              <a:ext uri="{FF2B5EF4-FFF2-40B4-BE49-F238E27FC236}">
                <a16:creationId xmlns:a16="http://schemas.microsoft.com/office/drawing/2014/main" id="{A6E0C9CE-CF25-B1B5-6A96-B8B3DF8852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91880" y="1347614"/>
            <a:ext cx="2375520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0" name="Текст 2">
            <a:extLst>
              <a:ext uri="{FF2B5EF4-FFF2-40B4-BE49-F238E27FC236}">
                <a16:creationId xmlns:a16="http://schemas.microsoft.com/office/drawing/2014/main" id="{CF8FD713-A5F4-2CFA-F102-1E3EC196C58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516216" y="2919416"/>
            <a:ext cx="1851991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/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r>
              <a:rPr lang="en-US" dirty="0">
                <a:effectLst/>
              </a:rPr>
              <a:t> </a:t>
            </a: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8499E6B8-2F20-3705-5EF9-6431419393C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91880" y="2934223"/>
            <a:ext cx="2469874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50418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2EB72E9B-D825-BB5C-9E9F-A443AA3591B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33532" y="1129885"/>
            <a:ext cx="2583116" cy="3402358"/>
          </a:xfrm>
          <a:prstGeom prst="roundRect">
            <a:avLst>
              <a:gd name="adj" fmla="val 7710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31" name="Скругленный прямоугольник 30">
            <a:extLst>
              <a:ext uri="{FF2B5EF4-FFF2-40B4-BE49-F238E27FC236}">
                <a16:creationId xmlns:a16="http://schemas.microsoft.com/office/drawing/2014/main" id="{2CE6471B-1733-F7B3-B1DE-2707B23273E8}"/>
              </a:ext>
            </a:extLst>
          </p:cNvPr>
          <p:cNvSpPr/>
          <p:nvPr userDrawn="1"/>
        </p:nvSpPr>
        <p:spPr bwMode="auto">
          <a:xfrm>
            <a:off x="323528" y="1131888"/>
            <a:ext cx="2767542" cy="1447814"/>
          </a:xfrm>
          <a:prstGeom prst="roundRect">
            <a:avLst>
              <a:gd name="adj" fmla="val 13600"/>
            </a:avLst>
          </a:prstGeom>
          <a:gradFill>
            <a:gsLst>
              <a:gs pos="58006">
                <a:schemeClr val="tx1">
                  <a:lumMod val="90000"/>
                  <a:lumOff val="10000"/>
                </a:schemeClr>
              </a:gs>
              <a:gs pos="0">
                <a:schemeClr val="tx1"/>
              </a:gs>
              <a:gs pos="97000">
                <a:schemeClr val="tx1">
                  <a:lumMod val="90000"/>
                  <a:lumOff val="10000"/>
                </a:scheme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29" name="Скругленный прямоугольник 28">
            <a:extLst>
              <a:ext uri="{FF2B5EF4-FFF2-40B4-BE49-F238E27FC236}">
                <a16:creationId xmlns:a16="http://schemas.microsoft.com/office/drawing/2014/main" id="{7F37B462-7BDF-477D-AC11-407DD5714CE2}"/>
              </a:ext>
            </a:extLst>
          </p:cNvPr>
          <p:cNvSpPr/>
          <p:nvPr userDrawn="1"/>
        </p:nvSpPr>
        <p:spPr bwMode="auto">
          <a:xfrm>
            <a:off x="323527" y="2697389"/>
            <a:ext cx="5719463" cy="1819049"/>
          </a:xfrm>
          <a:prstGeom prst="roundRect">
            <a:avLst>
              <a:gd name="adj" fmla="val 13600"/>
            </a:avLst>
          </a:prstGeom>
          <a:gradFill>
            <a:gsLst>
              <a:gs pos="79000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Длинный заголовок в 2 строки для слайда</a:t>
            </a:r>
            <a:br>
              <a:rPr lang="ru-RU" dirty="0"/>
            </a:br>
            <a:r>
              <a:rPr lang="ru-RU" dirty="0"/>
              <a:t>с цифрами и изображением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1" name="Скругленный прямоугольник 20">
            <a:extLst>
              <a:ext uri="{FF2B5EF4-FFF2-40B4-BE49-F238E27FC236}">
                <a16:creationId xmlns:a16="http://schemas.microsoft.com/office/drawing/2014/main" id="{FD8CF985-DAA4-C003-29F5-A9F2A4A46077}"/>
              </a:ext>
            </a:extLst>
          </p:cNvPr>
          <p:cNvSpPr/>
          <p:nvPr userDrawn="1"/>
        </p:nvSpPr>
        <p:spPr bwMode="auto">
          <a:xfrm>
            <a:off x="3257613" y="1131888"/>
            <a:ext cx="2772000" cy="1443600"/>
          </a:xfrm>
          <a:prstGeom prst="roundRect">
            <a:avLst>
              <a:gd name="adj" fmla="val 1360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23" name="Текст 2">
            <a:extLst>
              <a:ext uri="{FF2B5EF4-FFF2-40B4-BE49-F238E27FC236}">
                <a16:creationId xmlns:a16="http://schemas.microsoft.com/office/drawing/2014/main" id="{AD3ED641-F6BD-4ED6-4521-DD6046EC567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7699" y="2934223"/>
            <a:ext cx="5196509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26" name="Текст 2">
            <a:extLst>
              <a:ext uri="{FF2B5EF4-FFF2-40B4-BE49-F238E27FC236}">
                <a16:creationId xmlns:a16="http://schemas.microsoft.com/office/drawing/2014/main" id="{10558904-71BF-8421-5641-D078EAF8948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699" y="1347614"/>
            <a:ext cx="2262768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27" name="Текст 2">
            <a:extLst>
              <a:ext uri="{FF2B5EF4-FFF2-40B4-BE49-F238E27FC236}">
                <a16:creationId xmlns:a16="http://schemas.microsoft.com/office/drawing/2014/main" id="{A6E0C9CE-CF25-B1B5-6A96-B8B3DF8852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91880" y="1347614"/>
            <a:ext cx="2375520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980376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1F7A0729-0338-E698-276F-D33646C2F289}"/>
              </a:ext>
            </a:extLst>
          </p:cNvPr>
          <p:cNvSpPr/>
          <p:nvPr userDrawn="1"/>
        </p:nvSpPr>
        <p:spPr bwMode="auto">
          <a:xfrm>
            <a:off x="323528" y="1131888"/>
            <a:ext cx="2767542" cy="1447814"/>
          </a:xfrm>
          <a:prstGeom prst="roundRect">
            <a:avLst>
              <a:gd name="adj" fmla="val 13600"/>
            </a:avLst>
          </a:prstGeom>
          <a:gradFill>
            <a:gsLst>
              <a:gs pos="0">
                <a:srgbClr val="00737A"/>
              </a:gs>
              <a:gs pos="54000">
                <a:schemeClr val="accent1"/>
              </a:gs>
              <a:gs pos="97000">
                <a:schemeClr val="accent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7A5E23E7-2F3F-8E84-92AE-2AD47D2191B0}"/>
              </a:ext>
            </a:extLst>
          </p:cNvPr>
          <p:cNvSpPr/>
          <p:nvPr userDrawn="1"/>
        </p:nvSpPr>
        <p:spPr bwMode="auto">
          <a:xfrm>
            <a:off x="3206281" y="1131888"/>
            <a:ext cx="2836709" cy="1447814"/>
          </a:xfrm>
          <a:prstGeom prst="roundRect">
            <a:avLst>
              <a:gd name="adj" fmla="val 1360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2EB72E9B-D825-BB5C-9E9F-A443AA3591B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33532" y="1129885"/>
            <a:ext cx="2583116" cy="3402358"/>
          </a:xfrm>
          <a:prstGeom prst="roundRect">
            <a:avLst>
              <a:gd name="adj" fmla="val 7710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29" name="Скругленный прямоугольник 28">
            <a:extLst>
              <a:ext uri="{FF2B5EF4-FFF2-40B4-BE49-F238E27FC236}">
                <a16:creationId xmlns:a16="http://schemas.microsoft.com/office/drawing/2014/main" id="{7F37B462-7BDF-477D-AC11-407DD5714CE2}"/>
              </a:ext>
            </a:extLst>
          </p:cNvPr>
          <p:cNvSpPr/>
          <p:nvPr userDrawn="1"/>
        </p:nvSpPr>
        <p:spPr bwMode="auto">
          <a:xfrm>
            <a:off x="323527" y="2697389"/>
            <a:ext cx="5719463" cy="1819049"/>
          </a:xfrm>
          <a:prstGeom prst="roundRect">
            <a:avLst>
              <a:gd name="adj" fmla="val 13600"/>
            </a:avLst>
          </a:prstGeom>
          <a:gradFill>
            <a:gsLst>
              <a:gs pos="79000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Длинный заголовок в 2 строки для слайда</a:t>
            </a:r>
            <a:br>
              <a:rPr lang="ru-RU" dirty="0"/>
            </a:br>
            <a:r>
              <a:rPr lang="ru-RU" dirty="0"/>
              <a:t>с цифрами и изображением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6" name="Текст 2">
            <a:extLst>
              <a:ext uri="{FF2B5EF4-FFF2-40B4-BE49-F238E27FC236}">
                <a16:creationId xmlns:a16="http://schemas.microsoft.com/office/drawing/2014/main" id="{10558904-71BF-8421-5641-D078EAF8948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699" y="1347614"/>
            <a:ext cx="2262768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27" name="Текст 2">
            <a:extLst>
              <a:ext uri="{FF2B5EF4-FFF2-40B4-BE49-F238E27FC236}">
                <a16:creationId xmlns:a16="http://schemas.microsoft.com/office/drawing/2014/main" id="{A6E0C9CE-CF25-B1B5-6A96-B8B3DF8852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91880" y="1347614"/>
            <a:ext cx="2375520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5" name="Рисунок 14">
            <a:extLst>
              <a:ext uri="{FF2B5EF4-FFF2-40B4-BE49-F238E27FC236}">
                <a16:creationId xmlns:a16="http://schemas.microsoft.com/office/drawing/2014/main" id="{4F128227-FAE1-9F7B-EF9F-72E12871583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23527" y="2695617"/>
            <a:ext cx="2772000" cy="1821600"/>
          </a:xfrm>
          <a:prstGeom prst="roundRect">
            <a:avLst>
              <a:gd name="adj" fmla="val 13617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76927F70-B5C5-6852-FC2E-B54A0C1A64E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91880" y="2934223"/>
            <a:ext cx="2469874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57766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05AEA88B-AF6D-535E-DEF5-0564A17BB08A}"/>
              </a:ext>
            </a:extLst>
          </p:cNvPr>
          <p:cNvSpPr/>
          <p:nvPr userDrawn="1"/>
        </p:nvSpPr>
        <p:spPr bwMode="auto">
          <a:xfrm>
            <a:off x="4660812" y="1131815"/>
            <a:ext cx="4150800" cy="3331328"/>
          </a:xfrm>
          <a:prstGeom prst="roundRect">
            <a:avLst>
              <a:gd name="adj" fmla="val 5386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1F638945-8E12-1310-E9D1-9845F064B4B7}"/>
              </a:ext>
            </a:extLst>
          </p:cNvPr>
          <p:cNvSpPr/>
          <p:nvPr userDrawn="1"/>
        </p:nvSpPr>
        <p:spPr bwMode="auto">
          <a:xfrm>
            <a:off x="2482842" y="1129886"/>
            <a:ext cx="2006688" cy="1627200"/>
          </a:xfrm>
          <a:prstGeom prst="roundRect">
            <a:avLst>
              <a:gd name="adj" fmla="val 13600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7594B616-523E-20AF-9A22-FDBF2F80A73C}"/>
              </a:ext>
            </a:extLst>
          </p:cNvPr>
          <p:cNvSpPr/>
          <p:nvPr userDrawn="1"/>
        </p:nvSpPr>
        <p:spPr bwMode="auto">
          <a:xfrm>
            <a:off x="323528" y="1131590"/>
            <a:ext cx="2006688" cy="1627200"/>
          </a:xfrm>
          <a:prstGeom prst="roundRect">
            <a:avLst>
              <a:gd name="adj" fmla="val 13600"/>
            </a:avLst>
          </a:prstGeom>
          <a:gradFill>
            <a:gsLst>
              <a:gs pos="58006">
                <a:schemeClr val="tx1">
                  <a:lumMod val="90000"/>
                  <a:lumOff val="10000"/>
                </a:schemeClr>
              </a:gs>
              <a:gs pos="0">
                <a:schemeClr val="tx1"/>
              </a:gs>
              <a:gs pos="97000">
                <a:schemeClr val="tx1">
                  <a:lumMod val="90000"/>
                  <a:lumOff val="10000"/>
                </a:scheme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4" name="Скругленный прямоугольник 13">
            <a:extLst>
              <a:ext uri="{FF2B5EF4-FFF2-40B4-BE49-F238E27FC236}">
                <a16:creationId xmlns:a16="http://schemas.microsoft.com/office/drawing/2014/main" id="{56C347DF-DB74-5A9D-2106-82B2766A9946}"/>
              </a:ext>
            </a:extLst>
          </p:cNvPr>
          <p:cNvSpPr/>
          <p:nvPr userDrawn="1"/>
        </p:nvSpPr>
        <p:spPr bwMode="auto">
          <a:xfrm>
            <a:off x="2483768" y="2891630"/>
            <a:ext cx="2006688" cy="1627200"/>
          </a:xfrm>
          <a:prstGeom prst="roundRect">
            <a:avLst>
              <a:gd name="adj" fmla="val 13600"/>
            </a:avLst>
          </a:prstGeom>
          <a:gradFill>
            <a:gsLst>
              <a:gs pos="0">
                <a:srgbClr val="00737A"/>
              </a:gs>
              <a:gs pos="54000">
                <a:schemeClr val="accent1"/>
              </a:gs>
              <a:gs pos="97000">
                <a:schemeClr val="accent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8" name="Рисунок 14">
            <a:extLst>
              <a:ext uri="{FF2B5EF4-FFF2-40B4-BE49-F238E27FC236}">
                <a16:creationId xmlns:a16="http://schemas.microsoft.com/office/drawing/2014/main" id="{059A0278-7DB1-2A2E-904F-9B43D002583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660812" y="2891623"/>
            <a:ext cx="4150800" cy="1627200"/>
          </a:xfrm>
          <a:prstGeom prst="roundRect">
            <a:avLst>
              <a:gd name="adj" fmla="val 14251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Длинный заголовок в 2 строки для слайда</a:t>
            </a:r>
            <a:br>
              <a:rPr lang="ru-RU" dirty="0"/>
            </a:br>
            <a:r>
              <a:rPr lang="ru-RU" dirty="0"/>
              <a:t>с цифрами и изображением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2" name="Рисунок 14">
            <a:extLst>
              <a:ext uri="{FF2B5EF4-FFF2-40B4-BE49-F238E27FC236}">
                <a16:creationId xmlns:a16="http://schemas.microsoft.com/office/drawing/2014/main" id="{1DF55D25-E659-2FF4-9CA7-47FE183B26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23527" y="2862830"/>
            <a:ext cx="2012400" cy="1656000"/>
          </a:xfrm>
          <a:prstGeom prst="roundRect">
            <a:avLst>
              <a:gd name="adj" fmla="val 13617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23" name="Текст 2">
            <a:extLst>
              <a:ext uri="{FF2B5EF4-FFF2-40B4-BE49-F238E27FC236}">
                <a16:creationId xmlns:a16="http://schemas.microsoft.com/office/drawing/2014/main" id="{AD3ED641-F6BD-4ED6-4521-DD6046EC567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749826" y="3097323"/>
            <a:ext cx="1656000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26" name="Текст 2">
            <a:extLst>
              <a:ext uri="{FF2B5EF4-FFF2-40B4-BE49-F238E27FC236}">
                <a16:creationId xmlns:a16="http://schemas.microsoft.com/office/drawing/2014/main" id="{10558904-71BF-8421-5641-D078EAF8948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" y="1347614"/>
            <a:ext cx="1620838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27" name="Текст 2">
            <a:extLst>
              <a:ext uri="{FF2B5EF4-FFF2-40B4-BE49-F238E27FC236}">
                <a16:creationId xmlns:a16="http://schemas.microsoft.com/office/drawing/2014/main" id="{A6E0C9CE-CF25-B1B5-6A96-B8B3DF8852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700027" y="1347614"/>
            <a:ext cx="1722886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3E76DDF9-35D8-2BD7-6105-C1F8F1EB8A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892284" y="1347614"/>
            <a:ext cx="3685186" cy="692497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</a:p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57652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85B64701-21E4-7839-E08C-9E22FCC37932}"/>
              </a:ext>
            </a:extLst>
          </p:cNvPr>
          <p:cNvSpPr/>
          <p:nvPr userDrawn="1"/>
        </p:nvSpPr>
        <p:spPr bwMode="auto">
          <a:xfrm>
            <a:off x="4660812" y="1131815"/>
            <a:ext cx="4150800" cy="3331328"/>
          </a:xfrm>
          <a:prstGeom prst="roundRect">
            <a:avLst>
              <a:gd name="adj" fmla="val 5386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4DA8E32B-AAAA-29CE-D10E-326EFCA1D15E}"/>
              </a:ext>
            </a:extLst>
          </p:cNvPr>
          <p:cNvSpPr/>
          <p:nvPr userDrawn="1"/>
        </p:nvSpPr>
        <p:spPr bwMode="auto">
          <a:xfrm>
            <a:off x="323528" y="1131590"/>
            <a:ext cx="4150800" cy="1606259"/>
          </a:xfrm>
          <a:prstGeom prst="roundRect">
            <a:avLst>
              <a:gd name="adj" fmla="val 12005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48591678-F750-1CA7-370B-27B565E3012C}"/>
              </a:ext>
            </a:extLst>
          </p:cNvPr>
          <p:cNvSpPr/>
          <p:nvPr userDrawn="1"/>
        </p:nvSpPr>
        <p:spPr bwMode="auto">
          <a:xfrm>
            <a:off x="323528" y="2905015"/>
            <a:ext cx="4150800" cy="1606259"/>
          </a:xfrm>
          <a:prstGeom prst="roundRect">
            <a:avLst>
              <a:gd name="adj" fmla="val 12005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8" name="Рисунок 14">
            <a:extLst>
              <a:ext uri="{FF2B5EF4-FFF2-40B4-BE49-F238E27FC236}">
                <a16:creationId xmlns:a16="http://schemas.microsoft.com/office/drawing/2014/main" id="{059A0278-7DB1-2A2E-904F-9B43D002583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660812" y="2891623"/>
            <a:ext cx="4150800" cy="1627200"/>
          </a:xfrm>
          <a:prstGeom prst="roundRect">
            <a:avLst>
              <a:gd name="adj" fmla="val 14251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2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Длинный заголовок в 2 строки для слайда</a:t>
            </a:r>
            <a:br>
              <a:rPr lang="ru-RU" dirty="0"/>
            </a:br>
            <a:r>
              <a:rPr lang="ru-RU" dirty="0"/>
              <a:t>с цифрами и изображением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3" name="Текст 2">
            <a:extLst>
              <a:ext uri="{FF2B5EF4-FFF2-40B4-BE49-F238E27FC236}">
                <a16:creationId xmlns:a16="http://schemas.microsoft.com/office/drawing/2014/main" id="{AD3ED641-F6BD-4ED6-4521-DD6046EC567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6043" y="3097323"/>
            <a:ext cx="3602107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27" name="Текст 2">
            <a:extLst>
              <a:ext uri="{FF2B5EF4-FFF2-40B4-BE49-F238E27FC236}">
                <a16:creationId xmlns:a16="http://schemas.microsoft.com/office/drawing/2014/main" id="{A6E0C9CE-CF25-B1B5-6A96-B8B3DF8852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6042" y="1347614"/>
            <a:ext cx="3588027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3E76DDF9-35D8-2BD7-6105-C1F8F1EB8A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892284" y="1347614"/>
            <a:ext cx="3685186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10687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50A79060-14BC-1F3B-C13A-86B07B988201}"/>
              </a:ext>
            </a:extLst>
          </p:cNvPr>
          <p:cNvSpPr/>
          <p:nvPr userDrawn="1"/>
        </p:nvSpPr>
        <p:spPr bwMode="auto">
          <a:xfrm>
            <a:off x="4660812" y="1123970"/>
            <a:ext cx="4150800" cy="1606259"/>
          </a:xfrm>
          <a:prstGeom prst="roundRect">
            <a:avLst>
              <a:gd name="adj" fmla="val 12005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12BC91BC-D56A-F8CA-7271-BD3423C69487}"/>
              </a:ext>
            </a:extLst>
          </p:cNvPr>
          <p:cNvSpPr/>
          <p:nvPr userDrawn="1"/>
        </p:nvSpPr>
        <p:spPr bwMode="auto">
          <a:xfrm>
            <a:off x="4660812" y="2897395"/>
            <a:ext cx="4150800" cy="1606259"/>
          </a:xfrm>
          <a:prstGeom prst="roundRect">
            <a:avLst>
              <a:gd name="adj" fmla="val 12005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4" name="Скругленный прямоугольник 13">
            <a:extLst>
              <a:ext uri="{FF2B5EF4-FFF2-40B4-BE49-F238E27FC236}">
                <a16:creationId xmlns:a16="http://schemas.microsoft.com/office/drawing/2014/main" id="{69FC9A14-16B4-D443-8EB9-4BFB2EFA6D4B}"/>
              </a:ext>
            </a:extLst>
          </p:cNvPr>
          <p:cNvSpPr/>
          <p:nvPr userDrawn="1"/>
        </p:nvSpPr>
        <p:spPr bwMode="auto">
          <a:xfrm>
            <a:off x="323528" y="1131590"/>
            <a:ext cx="4150800" cy="1606259"/>
          </a:xfrm>
          <a:prstGeom prst="roundRect">
            <a:avLst>
              <a:gd name="adj" fmla="val 12005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id="{51437691-7718-0B23-C7D9-1D132CBE0789}"/>
              </a:ext>
            </a:extLst>
          </p:cNvPr>
          <p:cNvSpPr/>
          <p:nvPr userDrawn="1"/>
        </p:nvSpPr>
        <p:spPr bwMode="auto">
          <a:xfrm>
            <a:off x="323528" y="2905015"/>
            <a:ext cx="4150800" cy="1606259"/>
          </a:xfrm>
          <a:prstGeom prst="roundRect">
            <a:avLst>
              <a:gd name="adj" fmla="val 12005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Длинный заголовок в 2 строки для слайда</a:t>
            </a:r>
            <a:br>
              <a:rPr lang="ru-RU" dirty="0"/>
            </a:br>
            <a:r>
              <a:rPr lang="ru-RU" dirty="0"/>
              <a:t>с цифрами и изображением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3" name="Текст 2">
            <a:extLst>
              <a:ext uri="{FF2B5EF4-FFF2-40B4-BE49-F238E27FC236}">
                <a16:creationId xmlns:a16="http://schemas.microsoft.com/office/drawing/2014/main" id="{AD3ED641-F6BD-4ED6-4521-DD6046EC567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6043" y="3097323"/>
            <a:ext cx="3602107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27" name="Текст 2">
            <a:extLst>
              <a:ext uri="{FF2B5EF4-FFF2-40B4-BE49-F238E27FC236}">
                <a16:creationId xmlns:a16="http://schemas.microsoft.com/office/drawing/2014/main" id="{A6E0C9CE-CF25-B1B5-6A96-B8B3DF8852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6042" y="1347614"/>
            <a:ext cx="3588027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3E76DDF9-35D8-2BD7-6105-C1F8F1EB8A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892284" y="1347614"/>
            <a:ext cx="3685186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A49B4BF8-780D-50E7-BAFC-BA356D53564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99788" y="3097323"/>
            <a:ext cx="3588027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0928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A346D3A1-868C-772A-6ACE-D837F71F97B8}"/>
              </a:ext>
            </a:extLst>
          </p:cNvPr>
          <p:cNvSpPr/>
          <p:nvPr userDrawn="1"/>
        </p:nvSpPr>
        <p:spPr bwMode="auto">
          <a:xfrm>
            <a:off x="4660812" y="2897395"/>
            <a:ext cx="4150800" cy="1606259"/>
          </a:xfrm>
          <a:prstGeom prst="roundRect">
            <a:avLst>
              <a:gd name="adj" fmla="val 12005"/>
            </a:avLst>
          </a:prstGeom>
          <a:gradFill>
            <a:gsLst>
              <a:gs pos="0">
                <a:srgbClr val="00737A"/>
              </a:gs>
              <a:gs pos="54000">
                <a:schemeClr val="accent1"/>
              </a:gs>
              <a:gs pos="97000">
                <a:schemeClr val="accent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756800B7-A680-E708-EE96-4EAF12374D1B}"/>
              </a:ext>
            </a:extLst>
          </p:cNvPr>
          <p:cNvSpPr/>
          <p:nvPr userDrawn="1"/>
        </p:nvSpPr>
        <p:spPr bwMode="auto">
          <a:xfrm>
            <a:off x="323528" y="1131590"/>
            <a:ext cx="4150800" cy="1606259"/>
          </a:xfrm>
          <a:prstGeom prst="roundRect">
            <a:avLst>
              <a:gd name="adj" fmla="val 12005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8" name="Рисунок 14">
            <a:extLst>
              <a:ext uri="{FF2B5EF4-FFF2-40B4-BE49-F238E27FC236}">
                <a16:creationId xmlns:a16="http://schemas.microsoft.com/office/drawing/2014/main" id="{059A0278-7DB1-2A2E-904F-9B43D002583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23528" y="2891623"/>
            <a:ext cx="4150800" cy="1627200"/>
          </a:xfrm>
          <a:prstGeom prst="roundRect">
            <a:avLst>
              <a:gd name="adj" fmla="val 14251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7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Длинный заголовок в 2 строки для слайда</a:t>
            </a:r>
            <a:br>
              <a:rPr lang="ru-RU" dirty="0"/>
            </a:br>
            <a:r>
              <a:rPr lang="ru-RU" dirty="0"/>
              <a:t>с цифрами и изображением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7" name="Текст 2">
            <a:extLst>
              <a:ext uri="{FF2B5EF4-FFF2-40B4-BE49-F238E27FC236}">
                <a16:creationId xmlns:a16="http://schemas.microsoft.com/office/drawing/2014/main" id="{A6E0C9CE-CF25-B1B5-6A96-B8B3DF8852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6042" y="1347614"/>
            <a:ext cx="3588027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0" name="Рисунок 14">
            <a:extLst>
              <a:ext uri="{FF2B5EF4-FFF2-40B4-BE49-F238E27FC236}">
                <a16:creationId xmlns:a16="http://schemas.microsoft.com/office/drawing/2014/main" id="{F5D0EAC4-D8F9-7590-9626-358C6231814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649484" y="1122314"/>
            <a:ext cx="4150800" cy="1627200"/>
          </a:xfrm>
          <a:prstGeom prst="roundRect">
            <a:avLst>
              <a:gd name="adj" fmla="val 14251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F50AD968-66B3-E1C2-01EC-32E3ACB6CD0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99788" y="3147814"/>
            <a:ext cx="3588027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973711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14">
            <a:extLst>
              <a:ext uri="{FF2B5EF4-FFF2-40B4-BE49-F238E27FC236}">
                <a16:creationId xmlns:a16="http://schemas.microsoft.com/office/drawing/2014/main" id="{B1C6D8CF-EA9E-71BE-DAFE-5A12D3C5B08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23528" y="2891623"/>
            <a:ext cx="4773600" cy="1627200"/>
          </a:xfrm>
          <a:prstGeom prst="roundRect">
            <a:avLst>
              <a:gd name="adj" fmla="val 10036"/>
            </a:avLst>
          </a:prstGeom>
        </p:spPr>
        <p:txBody>
          <a:bodyPr/>
          <a:lstStyle>
            <a:lvl1pPr>
              <a:lnSpc>
                <a:spcPct val="100000"/>
              </a:lnSpc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5" name="Рисунок 14">
            <a:extLst>
              <a:ext uri="{FF2B5EF4-FFF2-40B4-BE49-F238E27FC236}">
                <a16:creationId xmlns:a16="http://schemas.microsoft.com/office/drawing/2014/main" id="{1ADCCCD1-1CE9-4171-8786-51D86BE969A0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23528" y="1122314"/>
            <a:ext cx="4773600" cy="1627200"/>
          </a:xfrm>
          <a:prstGeom prst="roundRect">
            <a:avLst>
              <a:gd name="adj" fmla="val 11441"/>
            </a:avLst>
          </a:prstGeom>
        </p:spPr>
        <p:txBody>
          <a:bodyPr/>
          <a:lstStyle>
            <a:lvl1pPr>
              <a:lnSpc>
                <a:spcPct val="100000"/>
              </a:lnSpc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0A3B7A3F-6FD7-65E3-3FA6-62FC91D3DBC1}"/>
              </a:ext>
            </a:extLst>
          </p:cNvPr>
          <p:cNvSpPr/>
          <p:nvPr userDrawn="1"/>
        </p:nvSpPr>
        <p:spPr bwMode="auto">
          <a:xfrm>
            <a:off x="5219700" y="2889238"/>
            <a:ext cx="3610800" cy="1627200"/>
          </a:xfrm>
          <a:prstGeom prst="roundRect">
            <a:avLst>
              <a:gd name="adj" fmla="val 11823"/>
            </a:avLst>
          </a:prstGeom>
          <a:gradFill>
            <a:gsLst>
              <a:gs pos="0">
                <a:srgbClr val="00737A"/>
              </a:gs>
              <a:gs pos="54000">
                <a:schemeClr val="accent1"/>
              </a:gs>
              <a:gs pos="97000">
                <a:schemeClr val="accent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2" name="Рисунок 14">
            <a:extLst>
              <a:ext uri="{FF2B5EF4-FFF2-40B4-BE49-F238E27FC236}">
                <a16:creationId xmlns:a16="http://schemas.microsoft.com/office/drawing/2014/main" id="{A5317674-1568-E11A-3A23-A2F6C3CB028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5219700" y="1122314"/>
            <a:ext cx="3610800" cy="1627200"/>
          </a:xfrm>
          <a:prstGeom prst="roundRect">
            <a:avLst>
              <a:gd name="adj" fmla="val 10739"/>
            </a:avLst>
          </a:prstGeom>
        </p:spPr>
        <p:txBody>
          <a:bodyPr/>
          <a:lstStyle>
            <a:lvl1pPr>
              <a:lnSpc>
                <a:spcPct val="100000"/>
              </a:lnSpc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0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Длинный заголовок в 2 строки для слайда</a:t>
            </a:r>
            <a:br>
              <a:rPr lang="ru-RU" dirty="0"/>
            </a:br>
            <a:r>
              <a:rPr lang="ru-RU" dirty="0"/>
              <a:t>с цифрами и изображением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F50AD968-66B3-E1C2-01EC-32E3ACB6CD0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66522" y="3081856"/>
            <a:ext cx="3021293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3040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2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622CA4CE-82D2-79A1-2DB0-D7CD94A634AF}"/>
              </a:ext>
            </a:extLst>
          </p:cNvPr>
          <p:cNvSpPr/>
          <p:nvPr userDrawn="1"/>
        </p:nvSpPr>
        <p:spPr bwMode="auto">
          <a:xfrm>
            <a:off x="323528" y="1131590"/>
            <a:ext cx="4150800" cy="1606259"/>
          </a:xfrm>
          <a:prstGeom prst="roundRect">
            <a:avLst>
              <a:gd name="adj" fmla="val 12005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F838C702-0134-FB99-6DB7-656E91E0E0DA}"/>
              </a:ext>
            </a:extLst>
          </p:cNvPr>
          <p:cNvSpPr/>
          <p:nvPr userDrawn="1"/>
        </p:nvSpPr>
        <p:spPr bwMode="auto">
          <a:xfrm>
            <a:off x="323528" y="2905015"/>
            <a:ext cx="4150800" cy="1606259"/>
          </a:xfrm>
          <a:prstGeom prst="roundRect">
            <a:avLst>
              <a:gd name="adj" fmla="val 12005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1" name="Рисунок 14">
            <a:extLst>
              <a:ext uri="{FF2B5EF4-FFF2-40B4-BE49-F238E27FC236}">
                <a16:creationId xmlns:a16="http://schemas.microsoft.com/office/drawing/2014/main" id="{0CFDE727-AACB-ECA1-E9AF-59C859EACF1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660812" y="1133061"/>
            <a:ext cx="4150800" cy="3385762"/>
          </a:xfrm>
          <a:prstGeom prst="roundRect">
            <a:avLst>
              <a:gd name="adj" fmla="val 4981"/>
            </a:avLst>
          </a:prstGeom>
        </p:spPr>
        <p:txBody>
          <a:bodyPr/>
          <a:lstStyle>
            <a:lvl1pPr>
              <a:lnSpc>
                <a:spcPct val="100000"/>
              </a:lnSpc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Длинный заголовок в 2 строки для слайда</a:t>
            </a:r>
            <a:br>
              <a:rPr lang="ru-RU" dirty="0"/>
            </a:br>
            <a:r>
              <a:rPr lang="ru-RU" dirty="0"/>
              <a:t>с цифрами и изображением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3" name="Текст 2">
            <a:extLst>
              <a:ext uri="{FF2B5EF4-FFF2-40B4-BE49-F238E27FC236}">
                <a16:creationId xmlns:a16="http://schemas.microsoft.com/office/drawing/2014/main" id="{AD3ED641-F6BD-4ED6-4521-DD6046EC567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6042" y="3097323"/>
            <a:ext cx="3602107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27" name="Текст 2">
            <a:extLst>
              <a:ext uri="{FF2B5EF4-FFF2-40B4-BE49-F238E27FC236}">
                <a16:creationId xmlns:a16="http://schemas.microsoft.com/office/drawing/2014/main" id="{A6E0C9CE-CF25-B1B5-6A96-B8B3DF8852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6042" y="1347614"/>
            <a:ext cx="3588027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2802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2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14">
            <a:extLst>
              <a:ext uri="{FF2B5EF4-FFF2-40B4-BE49-F238E27FC236}">
                <a16:creationId xmlns:a16="http://schemas.microsoft.com/office/drawing/2014/main" id="{E4FD3DB8-72DE-671C-3B0F-C3C1E2E96CF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660812" y="1133061"/>
            <a:ext cx="4150800" cy="3385762"/>
          </a:xfrm>
          <a:prstGeom prst="roundRect">
            <a:avLst>
              <a:gd name="adj" fmla="val 4981"/>
            </a:avLst>
          </a:prstGeom>
        </p:spPr>
        <p:txBody>
          <a:bodyPr/>
          <a:lstStyle>
            <a:lvl1pPr>
              <a:lnSpc>
                <a:spcPct val="100000"/>
              </a:lnSpc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54159269-47A3-FA1F-90AF-5E14AFAC017E}"/>
              </a:ext>
            </a:extLst>
          </p:cNvPr>
          <p:cNvSpPr/>
          <p:nvPr userDrawn="1"/>
        </p:nvSpPr>
        <p:spPr bwMode="auto">
          <a:xfrm>
            <a:off x="323528" y="2905015"/>
            <a:ext cx="4150800" cy="1606259"/>
          </a:xfrm>
          <a:prstGeom prst="roundRect">
            <a:avLst>
              <a:gd name="adj" fmla="val 11293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E36BE3B1-8D67-9345-7049-E39183E0C0F2}"/>
              </a:ext>
            </a:extLst>
          </p:cNvPr>
          <p:cNvSpPr/>
          <p:nvPr userDrawn="1"/>
        </p:nvSpPr>
        <p:spPr bwMode="auto">
          <a:xfrm>
            <a:off x="323528" y="1131590"/>
            <a:ext cx="4150800" cy="1606259"/>
          </a:xfrm>
          <a:prstGeom prst="roundRect">
            <a:avLst>
              <a:gd name="adj" fmla="val 11293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2" name="Рисунок 14">
            <a:extLst>
              <a:ext uri="{FF2B5EF4-FFF2-40B4-BE49-F238E27FC236}">
                <a16:creationId xmlns:a16="http://schemas.microsoft.com/office/drawing/2014/main" id="{CB8802B8-0775-FE80-0ED0-1D02F9E4B21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87600" y="1112400"/>
            <a:ext cx="2012400" cy="1648800"/>
          </a:xfrm>
          <a:prstGeom prst="roundRect">
            <a:avLst>
              <a:gd name="adj" fmla="val 13617"/>
            </a:avLst>
          </a:prstGeom>
        </p:spPr>
        <p:txBody>
          <a:bodyPr/>
          <a:lstStyle>
            <a:lvl1pPr>
              <a:lnSpc>
                <a:spcPct val="100000"/>
              </a:lnSpc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4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Длинный заголовок в 2 строки для слайда</a:t>
            </a:r>
            <a:br>
              <a:rPr lang="ru-RU" dirty="0"/>
            </a:br>
            <a:r>
              <a:rPr lang="ru-RU" dirty="0"/>
              <a:t>с цифрами и изображением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3" name="Текст 2">
            <a:extLst>
              <a:ext uri="{FF2B5EF4-FFF2-40B4-BE49-F238E27FC236}">
                <a16:creationId xmlns:a16="http://schemas.microsoft.com/office/drawing/2014/main" id="{AD3ED641-F6BD-4ED6-4521-DD6046EC567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6042" y="3097323"/>
            <a:ext cx="3602107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заголовков придают слайдам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слегка журнальный вид.</a:t>
            </a:r>
            <a:endParaRPr lang="ru-RU" dirty="0"/>
          </a:p>
        </p:txBody>
      </p:sp>
      <p:sp>
        <p:nvSpPr>
          <p:cNvPr id="27" name="Текст 2">
            <a:extLst>
              <a:ext uri="{FF2B5EF4-FFF2-40B4-BE49-F238E27FC236}">
                <a16:creationId xmlns:a16="http://schemas.microsoft.com/office/drawing/2014/main" id="{A6E0C9CE-CF25-B1B5-6A96-B8B3DF8852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6043" y="1347614"/>
            <a:ext cx="1659836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79735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04300F05-F64F-E75F-4D40-A6C727EBB21F}"/>
              </a:ext>
            </a:extLst>
          </p:cNvPr>
          <p:cNvSpPr/>
          <p:nvPr userDrawn="1"/>
        </p:nvSpPr>
        <p:spPr bwMode="auto">
          <a:xfrm>
            <a:off x="323851" y="1133779"/>
            <a:ext cx="2760312" cy="3382659"/>
          </a:xfrm>
          <a:prstGeom prst="roundRect">
            <a:avLst>
              <a:gd name="adj" fmla="val 7744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42C527D2-3CE1-902C-93C8-179FFC6B6419}"/>
              </a:ext>
            </a:extLst>
          </p:cNvPr>
          <p:cNvSpPr/>
          <p:nvPr userDrawn="1"/>
        </p:nvSpPr>
        <p:spPr bwMode="auto">
          <a:xfrm>
            <a:off x="3198737" y="1131590"/>
            <a:ext cx="2760312" cy="3382659"/>
          </a:xfrm>
          <a:prstGeom prst="roundRect">
            <a:avLst>
              <a:gd name="adj" fmla="val 7836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2C81ADD9-C570-B27C-FDA0-09849A23B33E}"/>
              </a:ext>
            </a:extLst>
          </p:cNvPr>
          <p:cNvSpPr/>
          <p:nvPr userDrawn="1"/>
        </p:nvSpPr>
        <p:spPr bwMode="auto">
          <a:xfrm>
            <a:off x="6084168" y="1131590"/>
            <a:ext cx="2760312" cy="3382659"/>
          </a:xfrm>
          <a:prstGeom prst="roundRect">
            <a:avLst>
              <a:gd name="adj" fmla="val 7468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в 2 строки для слайда с </a:t>
            </a:r>
            <a:r>
              <a:rPr lang="ru-RU" dirty="0" err="1">
                <a:effectLst/>
              </a:rPr>
              <a:t>хайлайтами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7" name="Текст 35">
            <a:extLst>
              <a:ext uri="{FF2B5EF4-FFF2-40B4-BE49-F238E27FC236}">
                <a16:creationId xmlns:a16="http://schemas.microsoft.com/office/drawing/2014/main" id="{16CB427A-5E6A-23BE-7C0D-E6C6E7CB4B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683" y="1410465"/>
            <a:ext cx="2232000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заголовков придают слайдам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слегка журнальный вид.</a:t>
            </a:r>
            <a:endParaRPr lang="ru-RU" dirty="0"/>
          </a:p>
        </p:txBody>
      </p:sp>
      <p:sp>
        <p:nvSpPr>
          <p:cNvPr id="41" name="Текст 35">
            <a:extLst>
              <a:ext uri="{FF2B5EF4-FFF2-40B4-BE49-F238E27FC236}">
                <a16:creationId xmlns:a16="http://schemas.microsoft.com/office/drawing/2014/main" id="{576EEFCB-D07B-EA1F-0662-33B4279229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11569" y="1408276"/>
            <a:ext cx="2232000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заголовков придают слайдам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слегка журнальный вид.</a:t>
            </a:r>
            <a:endParaRPr lang="ru-RU" dirty="0"/>
          </a:p>
        </p:txBody>
      </p:sp>
      <p:sp>
        <p:nvSpPr>
          <p:cNvPr id="43" name="Текст 35">
            <a:extLst>
              <a:ext uri="{FF2B5EF4-FFF2-40B4-BE49-F238E27FC236}">
                <a16:creationId xmlns:a16="http://schemas.microsoft.com/office/drawing/2014/main" id="{0D3F6312-4B6A-50E8-B909-A867018B25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97000" y="1408276"/>
            <a:ext cx="2232000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заголовков придают слайдам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слегка 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779498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2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Рисунок 14">
            <a:extLst>
              <a:ext uri="{FF2B5EF4-FFF2-40B4-BE49-F238E27FC236}">
                <a16:creationId xmlns:a16="http://schemas.microsoft.com/office/drawing/2014/main" id="{308A01CB-7500-357C-449E-D248DBCEE77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804248" y="1129886"/>
            <a:ext cx="2012400" cy="3395805"/>
          </a:xfrm>
          <a:prstGeom prst="roundRect">
            <a:avLst>
              <a:gd name="adj" fmla="val 11470"/>
            </a:avLst>
          </a:prstGeom>
        </p:spPr>
        <p:txBody>
          <a:bodyPr/>
          <a:lstStyle>
            <a:lvl1pPr>
              <a:lnSpc>
                <a:spcPct val="100000"/>
              </a:lnSpc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830CF6EC-F5C4-D40A-A087-A10C220CDE80}"/>
              </a:ext>
            </a:extLst>
          </p:cNvPr>
          <p:cNvSpPr/>
          <p:nvPr userDrawn="1"/>
        </p:nvSpPr>
        <p:spPr bwMode="auto">
          <a:xfrm>
            <a:off x="724829" y="2695617"/>
            <a:ext cx="3780264" cy="1821600"/>
          </a:xfrm>
          <a:prstGeom prst="roundRect">
            <a:avLst>
              <a:gd name="adj" fmla="val 11430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R="0" lvl="0" indent="0" defTabSz="9144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679AD231-EDC4-DE3D-7848-7512681D7BE9}"/>
              </a:ext>
            </a:extLst>
          </p:cNvPr>
          <p:cNvSpPr/>
          <p:nvPr userDrawn="1"/>
        </p:nvSpPr>
        <p:spPr bwMode="auto">
          <a:xfrm>
            <a:off x="4648457" y="2701633"/>
            <a:ext cx="2006688" cy="1821600"/>
          </a:xfrm>
          <a:prstGeom prst="roundRect">
            <a:avLst>
              <a:gd name="adj" fmla="val 1360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563D4585-BCBA-3E15-CBA2-2E0DAFCF7C6B}"/>
              </a:ext>
            </a:extLst>
          </p:cNvPr>
          <p:cNvSpPr/>
          <p:nvPr userDrawn="1"/>
        </p:nvSpPr>
        <p:spPr bwMode="auto">
          <a:xfrm>
            <a:off x="323527" y="1131590"/>
            <a:ext cx="2006688" cy="1443600"/>
          </a:xfrm>
          <a:prstGeom prst="roundRect">
            <a:avLst>
              <a:gd name="adj" fmla="val 16767"/>
            </a:avLst>
          </a:prstGeom>
          <a:gradFill>
            <a:gsLst>
              <a:gs pos="0">
                <a:srgbClr val="00737A"/>
              </a:gs>
              <a:gs pos="54000">
                <a:schemeClr val="accent1"/>
              </a:gs>
              <a:gs pos="97000">
                <a:schemeClr val="accent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6" name="Скругленный прямоугольник 15">
            <a:extLst>
              <a:ext uri="{FF2B5EF4-FFF2-40B4-BE49-F238E27FC236}">
                <a16:creationId xmlns:a16="http://schemas.microsoft.com/office/drawing/2014/main" id="{8CDF779D-5EC0-90E0-9D7E-5D7845AAAF3A}"/>
              </a:ext>
            </a:extLst>
          </p:cNvPr>
          <p:cNvSpPr/>
          <p:nvPr userDrawn="1"/>
        </p:nvSpPr>
        <p:spPr bwMode="auto">
          <a:xfrm>
            <a:off x="4648457" y="1131590"/>
            <a:ext cx="2006688" cy="1447814"/>
          </a:xfrm>
          <a:prstGeom prst="roundRect">
            <a:avLst>
              <a:gd name="adj" fmla="val 15113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R="0" lvl="0" indent="0" defTabSz="9144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17" name="Рисунок 14">
            <a:extLst>
              <a:ext uri="{FF2B5EF4-FFF2-40B4-BE49-F238E27FC236}">
                <a16:creationId xmlns:a16="http://schemas.microsoft.com/office/drawing/2014/main" id="{9444B0FB-8593-32BB-71AA-91E20DC6651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483768" y="1129886"/>
            <a:ext cx="2012400" cy="1443600"/>
          </a:xfrm>
          <a:prstGeom prst="roundRect">
            <a:avLst>
              <a:gd name="adj" fmla="val 13617"/>
            </a:avLst>
          </a:prstGeom>
        </p:spPr>
        <p:txBody>
          <a:bodyPr/>
          <a:lstStyle>
            <a:lvl1pPr>
              <a:lnSpc>
                <a:spcPct val="100000"/>
              </a:lnSpc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Длинный заголовок в 2 строки для слайда</a:t>
            </a:r>
            <a:br>
              <a:rPr lang="ru-RU" dirty="0"/>
            </a:br>
            <a:r>
              <a:rPr lang="ru-RU" dirty="0"/>
              <a:t>с цифрами и изображением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id="{071A88E8-AD79-C5C4-84A0-07F83BB36B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" y="1378110"/>
            <a:ext cx="1671754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8F927480-1DBC-6692-5E78-D3230BC5D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44087" y="1378110"/>
            <a:ext cx="1716359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30" name="Текст 2">
            <a:extLst>
              <a:ext uri="{FF2B5EF4-FFF2-40B4-BE49-F238E27FC236}">
                <a16:creationId xmlns:a16="http://schemas.microsoft.com/office/drawing/2014/main" id="{0129ECED-7AF7-3AA5-0D0C-887450EFDF1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594331" y="3003798"/>
            <a:ext cx="1716359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13D76F2-EFDB-9FEC-D03E-9D876CB0FE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44087" y="3003798"/>
            <a:ext cx="1716359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9" name="Рисунок 14">
            <a:extLst>
              <a:ext uri="{FF2B5EF4-FFF2-40B4-BE49-F238E27FC236}">
                <a16:creationId xmlns:a16="http://schemas.microsoft.com/office/drawing/2014/main" id="{7C6DE9B1-3FF5-3456-D25F-767EC283C71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12097" y="2695617"/>
            <a:ext cx="2012400" cy="1821600"/>
          </a:xfrm>
          <a:prstGeom prst="roundRect">
            <a:avLst>
              <a:gd name="adj" fmla="val 14873"/>
            </a:avLst>
          </a:prstGeom>
        </p:spPr>
        <p:txBody>
          <a:bodyPr/>
          <a:lstStyle>
            <a:lvl1pPr>
              <a:lnSpc>
                <a:spcPct val="100000"/>
              </a:lnSpc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32657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2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Скругленный прямоугольник 16">
            <a:extLst>
              <a:ext uri="{FF2B5EF4-FFF2-40B4-BE49-F238E27FC236}">
                <a16:creationId xmlns:a16="http://schemas.microsoft.com/office/drawing/2014/main" id="{6D406F0A-2B31-CEB1-C84B-05A418686A06}"/>
              </a:ext>
            </a:extLst>
          </p:cNvPr>
          <p:cNvSpPr/>
          <p:nvPr userDrawn="1"/>
        </p:nvSpPr>
        <p:spPr bwMode="auto">
          <a:xfrm>
            <a:off x="323527" y="1131590"/>
            <a:ext cx="2006688" cy="1443600"/>
          </a:xfrm>
          <a:prstGeom prst="roundRect">
            <a:avLst>
              <a:gd name="adj" fmla="val 16767"/>
            </a:avLst>
          </a:prstGeom>
          <a:gradFill>
            <a:gsLst>
              <a:gs pos="0">
                <a:srgbClr val="00737A"/>
              </a:gs>
              <a:gs pos="54000">
                <a:schemeClr val="accent1"/>
              </a:gs>
              <a:gs pos="97000">
                <a:schemeClr val="accent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8" name="Скругленный прямоугольник 17">
            <a:extLst>
              <a:ext uri="{FF2B5EF4-FFF2-40B4-BE49-F238E27FC236}">
                <a16:creationId xmlns:a16="http://schemas.microsoft.com/office/drawing/2014/main" id="{7C9E2D6B-C4C8-0ADF-A49E-6728219F21C7}"/>
              </a:ext>
            </a:extLst>
          </p:cNvPr>
          <p:cNvSpPr/>
          <p:nvPr userDrawn="1"/>
        </p:nvSpPr>
        <p:spPr bwMode="auto">
          <a:xfrm>
            <a:off x="4648457" y="1131590"/>
            <a:ext cx="2006688" cy="1447814"/>
          </a:xfrm>
          <a:prstGeom prst="roundRect">
            <a:avLst>
              <a:gd name="adj" fmla="val 15113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R="0" lvl="0" indent="0" defTabSz="9144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19" name="Рисунок 14">
            <a:extLst>
              <a:ext uri="{FF2B5EF4-FFF2-40B4-BE49-F238E27FC236}">
                <a16:creationId xmlns:a16="http://schemas.microsoft.com/office/drawing/2014/main" id="{4AC113BD-7BA4-E81B-BA1E-27865052087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483768" y="1129886"/>
            <a:ext cx="2012400" cy="1443600"/>
          </a:xfrm>
          <a:prstGeom prst="roundRect">
            <a:avLst>
              <a:gd name="adj" fmla="val 13617"/>
            </a:avLst>
          </a:prstGeom>
        </p:spPr>
        <p:txBody>
          <a:bodyPr/>
          <a:lstStyle>
            <a:lvl1pPr>
              <a:lnSpc>
                <a:spcPct val="100000"/>
              </a:lnSpc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96DB73F6-8ED2-535D-C945-844B5131629E}"/>
              </a:ext>
            </a:extLst>
          </p:cNvPr>
          <p:cNvSpPr/>
          <p:nvPr userDrawn="1"/>
        </p:nvSpPr>
        <p:spPr bwMode="auto">
          <a:xfrm>
            <a:off x="323528" y="2695617"/>
            <a:ext cx="4181565" cy="1821600"/>
          </a:xfrm>
          <a:prstGeom prst="roundRect">
            <a:avLst>
              <a:gd name="adj" fmla="val 11151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Длинный заголовок в 2 строки для слайда</a:t>
            </a:r>
            <a:br>
              <a:rPr lang="ru-RU" dirty="0"/>
            </a:br>
            <a:r>
              <a:rPr lang="ru-RU" dirty="0"/>
              <a:t>с цифрами и изображением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id="{071A88E8-AD79-C5C4-84A0-07F83BB36B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" y="1378110"/>
            <a:ext cx="1671754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8F927480-1DBC-6692-5E78-D3230BC5D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44087" y="1378110"/>
            <a:ext cx="1716359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30" name="Текст 2">
            <a:extLst>
              <a:ext uri="{FF2B5EF4-FFF2-40B4-BE49-F238E27FC236}">
                <a16:creationId xmlns:a16="http://schemas.microsoft.com/office/drawing/2014/main" id="{0129ECED-7AF7-3AA5-0D0C-887450EFDF1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7700" y="3003798"/>
            <a:ext cx="1716359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31" name="Рисунок 14">
            <a:extLst>
              <a:ext uri="{FF2B5EF4-FFF2-40B4-BE49-F238E27FC236}">
                <a16:creationId xmlns:a16="http://schemas.microsoft.com/office/drawing/2014/main" id="{CCF839F8-28D8-A250-702F-EA42B46BFC9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83768" y="2695617"/>
            <a:ext cx="2012400" cy="1821600"/>
          </a:xfrm>
          <a:prstGeom prst="roundRect">
            <a:avLst>
              <a:gd name="adj" fmla="val 10556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5049764A-C72A-6E1D-459B-CAB15405A228}"/>
              </a:ext>
            </a:extLst>
          </p:cNvPr>
          <p:cNvSpPr/>
          <p:nvPr userDrawn="1"/>
        </p:nvSpPr>
        <p:spPr bwMode="auto">
          <a:xfrm>
            <a:off x="6801798" y="1131887"/>
            <a:ext cx="2006688" cy="1443600"/>
          </a:xfrm>
          <a:prstGeom prst="roundRect">
            <a:avLst>
              <a:gd name="adj" fmla="val 1360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0FEEC89-F123-3229-D460-CA8CE2AA14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92280" y="1378110"/>
            <a:ext cx="1716359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E730191E-18ED-C6CF-6D37-C0E42BFF5355}"/>
              </a:ext>
            </a:extLst>
          </p:cNvPr>
          <p:cNvSpPr/>
          <p:nvPr userDrawn="1"/>
        </p:nvSpPr>
        <p:spPr bwMode="auto">
          <a:xfrm>
            <a:off x="4663470" y="2701633"/>
            <a:ext cx="2006688" cy="1821600"/>
          </a:xfrm>
          <a:prstGeom prst="roundRect">
            <a:avLst>
              <a:gd name="adj" fmla="val 1360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0" name="Текст 2">
            <a:extLst>
              <a:ext uri="{FF2B5EF4-FFF2-40B4-BE49-F238E27FC236}">
                <a16:creationId xmlns:a16="http://schemas.microsoft.com/office/drawing/2014/main" id="{195B112D-0F6C-551C-FF86-1431BF4903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44087" y="3003798"/>
            <a:ext cx="1716359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1" name="Рисунок 14">
            <a:extLst>
              <a:ext uri="{FF2B5EF4-FFF2-40B4-BE49-F238E27FC236}">
                <a16:creationId xmlns:a16="http://schemas.microsoft.com/office/drawing/2014/main" id="{A9DA14ED-7FB5-4D7F-2F14-4D9C4E72F37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98536" y="2701633"/>
            <a:ext cx="2012400" cy="1821600"/>
          </a:xfrm>
          <a:prstGeom prst="roundRect">
            <a:avLst>
              <a:gd name="adj" fmla="val 8720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4884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3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Скругленный прямоугольник 16">
            <a:extLst>
              <a:ext uri="{FF2B5EF4-FFF2-40B4-BE49-F238E27FC236}">
                <a16:creationId xmlns:a16="http://schemas.microsoft.com/office/drawing/2014/main" id="{6D406F0A-2B31-CEB1-C84B-05A418686A06}"/>
              </a:ext>
            </a:extLst>
          </p:cNvPr>
          <p:cNvSpPr/>
          <p:nvPr userDrawn="1"/>
        </p:nvSpPr>
        <p:spPr bwMode="auto">
          <a:xfrm>
            <a:off x="323527" y="1131590"/>
            <a:ext cx="2006688" cy="1443600"/>
          </a:xfrm>
          <a:prstGeom prst="roundRect">
            <a:avLst>
              <a:gd name="adj" fmla="val 16767"/>
            </a:avLst>
          </a:prstGeom>
          <a:gradFill>
            <a:gsLst>
              <a:gs pos="58006">
                <a:schemeClr val="tx1">
                  <a:lumMod val="90000"/>
                  <a:lumOff val="10000"/>
                </a:schemeClr>
              </a:gs>
              <a:gs pos="0">
                <a:schemeClr val="tx1"/>
              </a:gs>
              <a:gs pos="97000">
                <a:schemeClr val="tx1">
                  <a:lumMod val="90000"/>
                  <a:lumOff val="10000"/>
                </a:scheme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8" name="Скругленный прямоугольник 17">
            <a:extLst>
              <a:ext uri="{FF2B5EF4-FFF2-40B4-BE49-F238E27FC236}">
                <a16:creationId xmlns:a16="http://schemas.microsoft.com/office/drawing/2014/main" id="{7C9E2D6B-C4C8-0ADF-A49E-6728219F21C7}"/>
              </a:ext>
            </a:extLst>
          </p:cNvPr>
          <p:cNvSpPr/>
          <p:nvPr userDrawn="1"/>
        </p:nvSpPr>
        <p:spPr bwMode="auto">
          <a:xfrm>
            <a:off x="4648457" y="1131590"/>
            <a:ext cx="2006688" cy="1447814"/>
          </a:xfrm>
          <a:prstGeom prst="roundRect">
            <a:avLst>
              <a:gd name="adj" fmla="val 15113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R="0" lvl="0" indent="0" defTabSz="9144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19" name="Рисунок 14">
            <a:extLst>
              <a:ext uri="{FF2B5EF4-FFF2-40B4-BE49-F238E27FC236}">
                <a16:creationId xmlns:a16="http://schemas.microsoft.com/office/drawing/2014/main" id="{4AC113BD-7BA4-E81B-BA1E-27865052087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483768" y="1129886"/>
            <a:ext cx="2012400" cy="1443600"/>
          </a:xfrm>
          <a:prstGeom prst="roundRect">
            <a:avLst>
              <a:gd name="adj" fmla="val 13617"/>
            </a:avLst>
          </a:prstGeom>
        </p:spPr>
        <p:txBody>
          <a:bodyPr/>
          <a:lstStyle>
            <a:lvl1pPr>
              <a:lnSpc>
                <a:spcPct val="100000"/>
              </a:lnSpc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96DB73F6-8ED2-535D-C945-844B5131629E}"/>
              </a:ext>
            </a:extLst>
          </p:cNvPr>
          <p:cNvSpPr/>
          <p:nvPr userDrawn="1"/>
        </p:nvSpPr>
        <p:spPr bwMode="auto">
          <a:xfrm>
            <a:off x="323528" y="2695617"/>
            <a:ext cx="4181565" cy="1821600"/>
          </a:xfrm>
          <a:prstGeom prst="roundRect">
            <a:avLst>
              <a:gd name="adj" fmla="val 11151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2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Длинный заголовок в 2 строки для слайда</a:t>
            </a:r>
            <a:br>
              <a:rPr lang="ru-RU" dirty="0"/>
            </a:br>
            <a:r>
              <a:rPr lang="ru-RU" dirty="0"/>
              <a:t>с цифрами и изображением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id="{071A88E8-AD79-C5C4-84A0-07F83BB36B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" y="1378110"/>
            <a:ext cx="1671754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8F927480-1DBC-6692-5E78-D3230BC5D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44087" y="1378110"/>
            <a:ext cx="1716359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30" name="Текст 2">
            <a:extLst>
              <a:ext uri="{FF2B5EF4-FFF2-40B4-BE49-F238E27FC236}">
                <a16:creationId xmlns:a16="http://schemas.microsoft.com/office/drawing/2014/main" id="{0129ECED-7AF7-3AA5-0D0C-887450EFDF1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7700" y="3003798"/>
            <a:ext cx="1716359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5049764A-C72A-6E1D-459B-CAB15405A228}"/>
              </a:ext>
            </a:extLst>
          </p:cNvPr>
          <p:cNvSpPr/>
          <p:nvPr userDrawn="1"/>
        </p:nvSpPr>
        <p:spPr bwMode="auto">
          <a:xfrm>
            <a:off x="6801798" y="1131887"/>
            <a:ext cx="2006688" cy="1443600"/>
          </a:xfrm>
          <a:prstGeom prst="roundRect">
            <a:avLst>
              <a:gd name="adj" fmla="val 1360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0FEEC89-F123-3229-D460-CA8CE2AA14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92280" y="1378110"/>
            <a:ext cx="1716359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E730191E-18ED-C6CF-6D37-C0E42BFF5355}"/>
              </a:ext>
            </a:extLst>
          </p:cNvPr>
          <p:cNvSpPr/>
          <p:nvPr userDrawn="1"/>
        </p:nvSpPr>
        <p:spPr bwMode="auto">
          <a:xfrm>
            <a:off x="4663470" y="2701633"/>
            <a:ext cx="2006688" cy="1821600"/>
          </a:xfrm>
          <a:prstGeom prst="roundRect">
            <a:avLst>
              <a:gd name="adj" fmla="val 1360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0" name="Текст 2">
            <a:extLst>
              <a:ext uri="{FF2B5EF4-FFF2-40B4-BE49-F238E27FC236}">
                <a16:creationId xmlns:a16="http://schemas.microsoft.com/office/drawing/2014/main" id="{195B112D-0F6C-551C-FF86-1431BF4903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44087" y="3003798"/>
            <a:ext cx="1716359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1" name="Рисунок 14">
            <a:extLst>
              <a:ext uri="{FF2B5EF4-FFF2-40B4-BE49-F238E27FC236}">
                <a16:creationId xmlns:a16="http://schemas.microsoft.com/office/drawing/2014/main" id="{A9DA14ED-7FB5-4D7F-2F14-4D9C4E72F37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98536" y="2701633"/>
            <a:ext cx="2012400" cy="1821600"/>
          </a:xfrm>
          <a:prstGeom prst="roundRect">
            <a:avLst>
              <a:gd name="adj" fmla="val 8720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6" name="Рисунок 14">
            <a:extLst>
              <a:ext uri="{FF2B5EF4-FFF2-40B4-BE49-F238E27FC236}">
                <a16:creationId xmlns:a16="http://schemas.microsoft.com/office/drawing/2014/main" id="{DD065508-4B56-FB2C-9784-21C64491573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83768" y="2695617"/>
            <a:ext cx="2012400" cy="1821600"/>
          </a:xfrm>
          <a:prstGeom prst="roundRect">
            <a:avLst>
              <a:gd name="adj" fmla="val 10556"/>
            </a:avLst>
          </a:prstGeom>
        </p:spPr>
        <p:txBody>
          <a:bodyPr/>
          <a:lstStyle>
            <a:lvl1pPr>
              <a:lnSpc>
                <a:spcPct val="100000"/>
              </a:lnSpc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927558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3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Скругленный прямоугольник 17">
            <a:extLst>
              <a:ext uri="{FF2B5EF4-FFF2-40B4-BE49-F238E27FC236}">
                <a16:creationId xmlns:a16="http://schemas.microsoft.com/office/drawing/2014/main" id="{3236329B-8F56-049E-CCCD-941D27C44CBD}"/>
              </a:ext>
            </a:extLst>
          </p:cNvPr>
          <p:cNvSpPr/>
          <p:nvPr userDrawn="1"/>
        </p:nvSpPr>
        <p:spPr bwMode="auto">
          <a:xfrm>
            <a:off x="4663470" y="2701633"/>
            <a:ext cx="2006688" cy="1821600"/>
          </a:xfrm>
          <a:prstGeom prst="roundRect">
            <a:avLst>
              <a:gd name="adj" fmla="val 1360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26B7009F-5A18-1F8D-6511-0ECAD61F3329}"/>
              </a:ext>
            </a:extLst>
          </p:cNvPr>
          <p:cNvSpPr/>
          <p:nvPr userDrawn="1"/>
        </p:nvSpPr>
        <p:spPr bwMode="auto">
          <a:xfrm>
            <a:off x="4648457" y="1131590"/>
            <a:ext cx="2006688" cy="1447814"/>
          </a:xfrm>
          <a:prstGeom prst="roundRect">
            <a:avLst>
              <a:gd name="adj" fmla="val 15113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R="0" lvl="0" indent="0" defTabSz="9144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5" name="Рисунок 14">
            <a:extLst>
              <a:ext uri="{FF2B5EF4-FFF2-40B4-BE49-F238E27FC236}">
                <a16:creationId xmlns:a16="http://schemas.microsoft.com/office/drawing/2014/main" id="{E23A729A-9448-1CB4-4640-6FC33DD5F41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804248" y="1129886"/>
            <a:ext cx="2012400" cy="3395805"/>
          </a:xfrm>
          <a:prstGeom prst="roundRect">
            <a:avLst>
              <a:gd name="adj" fmla="val 11470"/>
            </a:avLst>
          </a:prstGeom>
        </p:spPr>
        <p:txBody>
          <a:bodyPr/>
          <a:lstStyle>
            <a:lvl1pPr>
              <a:lnSpc>
                <a:spcPct val="100000"/>
              </a:lnSpc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A5776817-AF74-1103-6CAF-0CE41B96AE83}"/>
              </a:ext>
            </a:extLst>
          </p:cNvPr>
          <p:cNvSpPr/>
          <p:nvPr userDrawn="1"/>
        </p:nvSpPr>
        <p:spPr bwMode="auto">
          <a:xfrm>
            <a:off x="323527" y="1131590"/>
            <a:ext cx="2006688" cy="1443600"/>
          </a:xfrm>
          <a:prstGeom prst="roundRect">
            <a:avLst>
              <a:gd name="adj" fmla="val 16767"/>
            </a:avLst>
          </a:prstGeom>
          <a:gradFill>
            <a:gsLst>
              <a:gs pos="58006">
                <a:schemeClr val="tx1">
                  <a:lumMod val="90000"/>
                  <a:lumOff val="10000"/>
                </a:schemeClr>
              </a:gs>
              <a:gs pos="0">
                <a:schemeClr val="tx1"/>
              </a:gs>
              <a:gs pos="97000">
                <a:schemeClr val="tx1">
                  <a:lumMod val="90000"/>
                  <a:lumOff val="10000"/>
                </a:scheme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96DB73F6-8ED2-535D-C945-844B5131629E}"/>
              </a:ext>
            </a:extLst>
          </p:cNvPr>
          <p:cNvSpPr/>
          <p:nvPr userDrawn="1"/>
        </p:nvSpPr>
        <p:spPr bwMode="auto">
          <a:xfrm>
            <a:off x="323528" y="2695617"/>
            <a:ext cx="4181565" cy="1821600"/>
          </a:xfrm>
          <a:prstGeom prst="roundRect">
            <a:avLst>
              <a:gd name="adj" fmla="val 11151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Длинный заголовок в 2 строки для слайда</a:t>
            </a:r>
            <a:br>
              <a:rPr lang="ru-RU" dirty="0"/>
            </a:br>
            <a:r>
              <a:rPr lang="ru-RU" dirty="0"/>
              <a:t>с цифрами и изображением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2" name="Рисунок 14">
            <a:extLst>
              <a:ext uri="{FF2B5EF4-FFF2-40B4-BE49-F238E27FC236}">
                <a16:creationId xmlns:a16="http://schemas.microsoft.com/office/drawing/2014/main" id="{CD0408B7-15E6-2DEE-A71C-96A061A0C8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483768" y="1129886"/>
            <a:ext cx="2012400" cy="1443600"/>
          </a:xfrm>
          <a:prstGeom prst="roundRect">
            <a:avLst>
              <a:gd name="adj" fmla="val 13617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id="{071A88E8-AD79-C5C4-84A0-07F83BB36B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" y="1378110"/>
            <a:ext cx="1671754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8F927480-1DBC-6692-5E78-D3230BC5D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44087" y="1378110"/>
            <a:ext cx="1716359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30" name="Текст 2">
            <a:extLst>
              <a:ext uri="{FF2B5EF4-FFF2-40B4-BE49-F238E27FC236}">
                <a16:creationId xmlns:a16="http://schemas.microsoft.com/office/drawing/2014/main" id="{0129ECED-7AF7-3AA5-0D0C-887450EFDF1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7700" y="3003798"/>
            <a:ext cx="1716359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0" name="Текст 2">
            <a:extLst>
              <a:ext uri="{FF2B5EF4-FFF2-40B4-BE49-F238E27FC236}">
                <a16:creationId xmlns:a16="http://schemas.microsoft.com/office/drawing/2014/main" id="{195B112D-0F6C-551C-FF86-1431BF4903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44087" y="3003798"/>
            <a:ext cx="1716359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2" name="Рисунок 14">
            <a:extLst>
              <a:ext uri="{FF2B5EF4-FFF2-40B4-BE49-F238E27FC236}">
                <a16:creationId xmlns:a16="http://schemas.microsoft.com/office/drawing/2014/main" id="{85014674-D0F7-7C00-CC02-01B133CA21E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83768" y="2695617"/>
            <a:ext cx="2012400" cy="1821600"/>
          </a:xfrm>
          <a:prstGeom prst="roundRect">
            <a:avLst>
              <a:gd name="adj" fmla="val 10556"/>
            </a:avLst>
          </a:prstGeom>
        </p:spPr>
        <p:txBody>
          <a:bodyPr/>
          <a:lstStyle>
            <a:lvl1pPr>
              <a:lnSpc>
                <a:spcPct val="100000"/>
              </a:lnSpc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555532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3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Рисунок 14">
            <a:extLst>
              <a:ext uri="{FF2B5EF4-FFF2-40B4-BE49-F238E27FC236}">
                <a16:creationId xmlns:a16="http://schemas.microsoft.com/office/drawing/2014/main" id="{6C551A3F-EDE1-CB27-D218-430900A0B83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804248" y="1129886"/>
            <a:ext cx="2012400" cy="3395805"/>
          </a:xfrm>
          <a:prstGeom prst="roundRect">
            <a:avLst>
              <a:gd name="adj" fmla="val 11470"/>
            </a:avLst>
          </a:prstGeom>
        </p:spPr>
        <p:txBody>
          <a:bodyPr/>
          <a:lstStyle>
            <a:lvl1pPr>
              <a:lnSpc>
                <a:spcPct val="100000"/>
              </a:lnSpc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9C67D2E4-28E1-85EF-7309-4EEBFB0A29E1}"/>
              </a:ext>
            </a:extLst>
          </p:cNvPr>
          <p:cNvSpPr/>
          <p:nvPr userDrawn="1"/>
        </p:nvSpPr>
        <p:spPr bwMode="auto">
          <a:xfrm>
            <a:off x="323527" y="1131590"/>
            <a:ext cx="2006688" cy="1443600"/>
          </a:xfrm>
          <a:prstGeom prst="roundRect">
            <a:avLst>
              <a:gd name="adj" fmla="val 16767"/>
            </a:avLst>
          </a:prstGeom>
          <a:gradFill>
            <a:gsLst>
              <a:gs pos="0">
                <a:srgbClr val="00737A"/>
              </a:gs>
              <a:gs pos="54000">
                <a:schemeClr val="accent1"/>
              </a:gs>
              <a:gs pos="97000">
                <a:schemeClr val="accent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F87F216F-8B2D-22B8-780E-5E1F41F9C7BA}"/>
              </a:ext>
            </a:extLst>
          </p:cNvPr>
          <p:cNvSpPr/>
          <p:nvPr userDrawn="1"/>
        </p:nvSpPr>
        <p:spPr bwMode="auto">
          <a:xfrm>
            <a:off x="4648457" y="1131590"/>
            <a:ext cx="2006688" cy="1447814"/>
          </a:xfrm>
          <a:prstGeom prst="roundRect">
            <a:avLst>
              <a:gd name="adj" fmla="val 15113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R="0" lvl="0" indent="0" defTabSz="9144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6" name="Рисунок 14">
            <a:extLst>
              <a:ext uri="{FF2B5EF4-FFF2-40B4-BE49-F238E27FC236}">
                <a16:creationId xmlns:a16="http://schemas.microsoft.com/office/drawing/2014/main" id="{931CABBF-745C-8F8F-20D0-A9DA77B69EA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483768" y="1129886"/>
            <a:ext cx="2012400" cy="1443600"/>
          </a:xfrm>
          <a:prstGeom prst="roundRect">
            <a:avLst>
              <a:gd name="adj" fmla="val 13617"/>
            </a:avLst>
          </a:prstGeom>
        </p:spPr>
        <p:txBody>
          <a:bodyPr/>
          <a:lstStyle>
            <a:lvl1pPr>
              <a:lnSpc>
                <a:spcPct val="100000"/>
              </a:lnSpc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7868518E-0994-5E7B-35B2-B2869EA6E7F2}"/>
              </a:ext>
            </a:extLst>
          </p:cNvPr>
          <p:cNvSpPr/>
          <p:nvPr userDrawn="1"/>
        </p:nvSpPr>
        <p:spPr bwMode="auto">
          <a:xfrm>
            <a:off x="323528" y="2695617"/>
            <a:ext cx="4181565" cy="1821600"/>
          </a:xfrm>
          <a:prstGeom prst="roundRect">
            <a:avLst>
              <a:gd name="adj" fmla="val 11151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Скругленный прямоугольник 17">
            <a:extLst>
              <a:ext uri="{FF2B5EF4-FFF2-40B4-BE49-F238E27FC236}">
                <a16:creationId xmlns:a16="http://schemas.microsoft.com/office/drawing/2014/main" id="{966BE51E-E9C8-D229-B8F1-17A6C1D1E21B}"/>
              </a:ext>
            </a:extLst>
          </p:cNvPr>
          <p:cNvSpPr/>
          <p:nvPr userDrawn="1"/>
        </p:nvSpPr>
        <p:spPr bwMode="auto">
          <a:xfrm>
            <a:off x="4663470" y="2701633"/>
            <a:ext cx="2006688" cy="1821600"/>
          </a:xfrm>
          <a:prstGeom prst="roundRect">
            <a:avLst>
              <a:gd name="adj" fmla="val 1360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6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Длинный заголовок в 2 строки для слайда</a:t>
            </a:r>
            <a:br>
              <a:rPr lang="ru-RU" dirty="0"/>
            </a:br>
            <a:r>
              <a:rPr lang="ru-RU" dirty="0"/>
              <a:t>с цифрами и изображением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id="{071A88E8-AD79-C5C4-84A0-07F83BB36B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" y="1378110"/>
            <a:ext cx="1671754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8F927480-1DBC-6692-5E78-D3230BC5D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44087" y="1378110"/>
            <a:ext cx="1716359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30" name="Текст 2">
            <a:extLst>
              <a:ext uri="{FF2B5EF4-FFF2-40B4-BE49-F238E27FC236}">
                <a16:creationId xmlns:a16="http://schemas.microsoft.com/office/drawing/2014/main" id="{0129ECED-7AF7-3AA5-0D0C-887450EFDF1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7700" y="3003798"/>
            <a:ext cx="1716359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31" name="Рисунок 14">
            <a:extLst>
              <a:ext uri="{FF2B5EF4-FFF2-40B4-BE49-F238E27FC236}">
                <a16:creationId xmlns:a16="http://schemas.microsoft.com/office/drawing/2014/main" id="{CCF839F8-28D8-A250-702F-EA42B46BFC9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83768" y="2695617"/>
            <a:ext cx="2012400" cy="1821600"/>
          </a:xfrm>
          <a:prstGeom prst="roundRect">
            <a:avLst>
              <a:gd name="adj" fmla="val 10556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0" name="Текст 2">
            <a:extLst>
              <a:ext uri="{FF2B5EF4-FFF2-40B4-BE49-F238E27FC236}">
                <a16:creationId xmlns:a16="http://schemas.microsoft.com/office/drawing/2014/main" id="{195B112D-0F6C-551C-FF86-1431BF4903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44087" y="3003798"/>
            <a:ext cx="1716359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72434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3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C120ECB0-A764-EF0F-012A-99D2C57EF664}"/>
              </a:ext>
            </a:extLst>
          </p:cNvPr>
          <p:cNvSpPr/>
          <p:nvPr userDrawn="1"/>
        </p:nvSpPr>
        <p:spPr bwMode="auto">
          <a:xfrm>
            <a:off x="724829" y="2695617"/>
            <a:ext cx="3780264" cy="1821600"/>
          </a:xfrm>
          <a:prstGeom prst="roundRect">
            <a:avLst>
              <a:gd name="adj" fmla="val 11430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R="0" lvl="0" indent="0" defTabSz="9144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13" name="Рисунок 14">
            <a:extLst>
              <a:ext uri="{FF2B5EF4-FFF2-40B4-BE49-F238E27FC236}">
                <a16:creationId xmlns:a16="http://schemas.microsoft.com/office/drawing/2014/main" id="{823D7D00-E08A-71BF-0381-6AEDA2CF7B7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12097" y="2695617"/>
            <a:ext cx="2012400" cy="1821600"/>
          </a:xfrm>
          <a:prstGeom prst="roundRect">
            <a:avLst>
              <a:gd name="adj" fmla="val 14873"/>
            </a:avLst>
          </a:prstGeom>
        </p:spPr>
        <p:txBody>
          <a:bodyPr/>
          <a:lstStyle>
            <a:lvl1pPr>
              <a:lnSpc>
                <a:spcPct val="100000"/>
              </a:lnSpc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7" name="Скругленный прямоугольник 16">
            <a:extLst>
              <a:ext uri="{FF2B5EF4-FFF2-40B4-BE49-F238E27FC236}">
                <a16:creationId xmlns:a16="http://schemas.microsoft.com/office/drawing/2014/main" id="{2938CA8E-6ED6-0999-867A-B8A5AB379F15}"/>
              </a:ext>
            </a:extLst>
          </p:cNvPr>
          <p:cNvSpPr/>
          <p:nvPr userDrawn="1"/>
        </p:nvSpPr>
        <p:spPr bwMode="auto">
          <a:xfrm>
            <a:off x="6804248" y="2701633"/>
            <a:ext cx="2006688" cy="1821600"/>
          </a:xfrm>
          <a:prstGeom prst="roundRect">
            <a:avLst>
              <a:gd name="adj" fmla="val 1360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8" name="Рисунок 14">
            <a:extLst>
              <a:ext uri="{FF2B5EF4-FFF2-40B4-BE49-F238E27FC236}">
                <a16:creationId xmlns:a16="http://schemas.microsoft.com/office/drawing/2014/main" id="{5810AD9C-6ECF-2B50-F5DA-74FCEE28D86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655159" y="2701633"/>
            <a:ext cx="2012400" cy="1821600"/>
          </a:xfrm>
          <a:prstGeom prst="roundRect">
            <a:avLst>
              <a:gd name="adj" fmla="val 13617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C140D47F-0BE1-834E-981A-B0CE10DB6C62}"/>
              </a:ext>
            </a:extLst>
          </p:cNvPr>
          <p:cNvSpPr/>
          <p:nvPr userDrawn="1"/>
        </p:nvSpPr>
        <p:spPr bwMode="auto">
          <a:xfrm>
            <a:off x="323527" y="1131590"/>
            <a:ext cx="2006688" cy="1443600"/>
          </a:xfrm>
          <a:prstGeom prst="roundRect">
            <a:avLst>
              <a:gd name="adj" fmla="val 16767"/>
            </a:avLst>
          </a:prstGeom>
          <a:gradFill>
            <a:gsLst>
              <a:gs pos="0">
                <a:srgbClr val="00737A"/>
              </a:gs>
              <a:gs pos="54000">
                <a:schemeClr val="accent1"/>
              </a:gs>
              <a:gs pos="97000">
                <a:schemeClr val="accent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283601A4-84C5-B2DC-CFB6-74BB2E55F864}"/>
              </a:ext>
            </a:extLst>
          </p:cNvPr>
          <p:cNvSpPr/>
          <p:nvPr userDrawn="1"/>
        </p:nvSpPr>
        <p:spPr bwMode="auto">
          <a:xfrm>
            <a:off x="4648457" y="1131590"/>
            <a:ext cx="2006688" cy="1447814"/>
          </a:xfrm>
          <a:prstGeom prst="roundRect">
            <a:avLst>
              <a:gd name="adj" fmla="val 15113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R="0" lvl="0" indent="0" defTabSz="9144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5" name="Рисунок 14">
            <a:extLst>
              <a:ext uri="{FF2B5EF4-FFF2-40B4-BE49-F238E27FC236}">
                <a16:creationId xmlns:a16="http://schemas.microsoft.com/office/drawing/2014/main" id="{8A2DD97F-452F-E38C-07E5-0B91D3E0E91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483768" y="1129886"/>
            <a:ext cx="2012400" cy="1443600"/>
          </a:xfrm>
          <a:prstGeom prst="roundRect">
            <a:avLst>
              <a:gd name="adj" fmla="val 13617"/>
            </a:avLst>
          </a:prstGeom>
        </p:spPr>
        <p:txBody>
          <a:bodyPr/>
          <a:lstStyle>
            <a:lvl1pPr>
              <a:lnSpc>
                <a:spcPct val="100000"/>
              </a:lnSpc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Длинный заголовок в 2 строки для слайда</a:t>
            </a:r>
            <a:br>
              <a:rPr lang="ru-RU" dirty="0"/>
            </a:br>
            <a:r>
              <a:rPr lang="ru-RU" dirty="0"/>
              <a:t>с цифрами и изображением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id="{071A88E8-AD79-C5C4-84A0-07F83BB36B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" y="1378110"/>
            <a:ext cx="1671754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8F927480-1DBC-6692-5E78-D3230BC5D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44087" y="1378110"/>
            <a:ext cx="1716359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A74294EE-5C14-8506-F039-2FB09AC808D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62819" y="3003798"/>
            <a:ext cx="1716359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30" name="Текст 2">
            <a:extLst>
              <a:ext uri="{FF2B5EF4-FFF2-40B4-BE49-F238E27FC236}">
                <a16:creationId xmlns:a16="http://schemas.microsoft.com/office/drawing/2014/main" id="{0129ECED-7AF7-3AA5-0D0C-887450EFDF1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594331" y="3003798"/>
            <a:ext cx="1716359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0" name="Рисунок 14">
            <a:extLst>
              <a:ext uri="{FF2B5EF4-FFF2-40B4-BE49-F238E27FC236}">
                <a16:creationId xmlns:a16="http://schemas.microsoft.com/office/drawing/2014/main" id="{DC103AC3-46DE-D2BC-B6A8-11BA906B537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804248" y="1131590"/>
            <a:ext cx="2012400" cy="1443600"/>
          </a:xfrm>
          <a:prstGeom prst="roundRect">
            <a:avLst>
              <a:gd name="adj" fmla="val 13617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57707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3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0089FAE9-8F65-7209-48C6-3FF9DB0DA919}"/>
              </a:ext>
            </a:extLst>
          </p:cNvPr>
          <p:cNvSpPr/>
          <p:nvPr userDrawn="1"/>
        </p:nvSpPr>
        <p:spPr bwMode="auto">
          <a:xfrm>
            <a:off x="4659147" y="2889387"/>
            <a:ext cx="2006688" cy="1627200"/>
          </a:xfrm>
          <a:prstGeom prst="roundRect">
            <a:avLst>
              <a:gd name="adj" fmla="val 13600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R="0" lvl="0" indent="0" defTabSz="9144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9574488A-FFFD-F66E-DE7C-709B96529A38}"/>
              </a:ext>
            </a:extLst>
          </p:cNvPr>
          <p:cNvSpPr/>
          <p:nvPr userDrawn="1"/>
        </p:nvSpPr>
        <p:spPr bwMode="auto">
          <a:xfrm>
            <a:off x="2482842" y="1129886"/>
            <a:ext cx="2006688" cy="1627200"/>
          </a:xfrm>
          <a:prstGeom prst="roundRect">
            <a:avLst>
              <a:gd name="adj" fmla="val 1360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643526D1-96CC-6640-FFD4-197FC1B33AF3}"/>
              </a:ext>
            </a:extLst>
          </p:cNvPr>
          <p:cNvSpPr/>
          <p:nvPr userDrawn="1"/>
        </p:nvSpPr>
        <p:spPr bwMode="auto">
          <a:xfrm>
            <a:off x="323528" y="1131590"/>
            <a:ext cx="2006688" cy="1627200"/>
          </a:xfrm>
          <a:prstGeom prst="roundRect">
            <a:avLst>
              <a:gd name="adj" fmla="val 1360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B8011B4E-2492-828E-B005-D903EEBCC286}"/>
              </a:ext>
            </a:extLst>
          </p:cNvPr>
          <p:cNvSpPr/>
          <p:nvPr userDrawn="1"/>
        </p:nvSpPr>
        <p:spPr bwMode="auto">
          <a:xfrm>
            <a:off x="6801798" y="1131887"/>
            <a:ext cx="2006688" cy="1627200"/>
          </a:xfrm>
          <a:prstGeom prst="roundRect">
            <a:avLst>
              <a:gd name="adj" fmla="val 13600"/>
            </a:avLst>
          </a:prstGeom>
          <a:gradFill>
            <a:gsLst>
              <a:gs pos="0">
                <a:srgbClr val="00737A"/>
              </a:gs>
              <a:gs pos="54000">
                <a:schemeClr val="accent1"/>
              </a:gs>
              <a:gs pos="97000">
                <a:schemeClr val="accent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22" name="Рисунок 14">
            <a:extLst>
              <a:ext uri="{FF2B5EF4-FFF2-40B4-BE49-F238E27FC236}">
                <a16:creationId xmlns:a16="http://schemas.microsoft.com/office/drawing/2014/main" id="{9A4C9051-7A88-112C-E23C-D63477B9D6F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3850" y="2893235"/>
            <a:ext cx="2012400" cy="1627200"/>
          </a:xfrm>
          <a:prstGeom prst="roundRect">
            <a:avLst>
              <a:gd name="adj" fmla="val 13617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C8FBD8FB-E4F7-289F-5108-07A7FE57DE4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83768" y="2893235"/>
            <a:ext cx="2012400" cy="1627200"/>
          </a:xfrm>
          <a:prstGeom prst="roundRect">
            <a:avLst>
              <a:gd name="adj" fmla="val 13617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62EA483F-DEE6-EE24-AEC7-7B39DCF6B34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53435" y="1129886"/>
            <a:ext cx="2012400" cy="1627200"/>
          </a:xfrm>
          <a:prstGeom prst="roundRect">
            <a:avLst>
              <a:gd name="adj" fmla="val 13617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25" name="Рисунок 14">
            <a:extLst>
              <a:ext uri="{FF2B5EF4-FFF2-40B4-BE49-F238E27FC236}">
                <a16:creationId xmlns:a16="http://schemas.microsoft.com/office/drawing/2014/main" id="{A3EA4124-7E09-6FDB-CF09-A965D82ADBE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98536" y="2893235"/>
            <a:ext cx="2012400" cy="1627200"/>
          </a:xfrm>
          <a:prstGeom prst="roundRect">
            <a:avLst>
              <a:gd name="adj" fmla="val 13617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1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Длинный заголовок в 2 строки для слайда</a:t>
            </a:r>
            <a:br>
              <a:rPr lang="ru-RU" dirty="0"/>
            </a:br>
            <a:r>
              <a:rPr lang="ru-RU" dirty="0"/>
              <a:t>с цифрами и изображением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id="{071A88E8-AD79-C5C4-84A0-07F83BB36B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" y="1378110"/>
            <a:ext cx="1705208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8F927480-1DBC-6692-5E78-D3230BC5D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95893" y="1378110"/>
            <a:ext cx="1716359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A74294EE-5C14-8506-F039-2FB09AC808D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44087" y="3061944"/>
            <a:ext cx="1716359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7" name="Текст 2">
            <a:extLst>
              <a:ext uri="{FF2B5EF4-FFF2-40B4-BE49-F238E27FC236}">
                <a16:creationId xmlns:a16="http://schemas.microsoft.com/office/drawing/2014/main" id="{83F0B67D-7962-CCE3-DCE9-F54879F68F8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92280" y="1378110"/>
            <a:ext cx="1716359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16737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3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A02DA333-ACC0-ED3E-5C07-4E382E82E04E}"/>
              </a:ext>
            </a:extLst>
          </p:cNvPr>
          <p:cNvSpPr/>
          <p:nvPr userDrawn="1"/>
        </p:nvSpPr>
        <p:spPr bwMode="auto">
          <a:xfrm>
            <a:off x="4663470" y="1131887"/>
            <a:ext cx="2006688" cy="1627200"/>
          </a:xfrm>
          <a:prstGeom prst="roundRect">
            <a:avLst>
              <a:gd name="adj" fmla="val 13600"/>
            </a:avLst>
          </a:prstGeom>
          <a:gradFill>
            <a:gsLst>
              <a:gs pos="0">
                <a:srgbClr val="00737A"/>
              </a:gs>
              <a:gs pos="54000">
                <a:schemeClr val="accent1"/>
              </a:gs>
              <a:gs pos="97000">
                <a:schemeClr val="accent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73FE3297-4AF1-D277-5AA1-96617B088FF9}"/>
              </a:ext>
            </a:extLst>
          </p:cNvPr>
          <p:cNvSpPr/>
          <p:nvPr userDrawn="1"/>
        </p:nvSpPr>
        <p:spPr bwMode="auto">
          <a:xfrm>
            <a:off x="6801798" y="1131887"/>
            <a:ext cx="2006688" cy="1627200"/>
          </a:xfrm>
          <a:prstGeom prst="roundRect">
            <a:avLst>
              <a:gd name="adj" fmla="val 13600"/>
            </a:avLst>
          </a:prstGeom>
          <a:gradFill>
            <a:gsLst>
              <a:gs pos="58006">
                <a:schemeClr val="tx1">
                  <a:lumMod val="90000"/>
                  <a:lumOff val="10000"/>
                </a:schemeClr>
              </a:gs>
              <a:gs pos="0">
                <a:schemeClr val="tx1"/>
              </a:gs>
              <a:gs pos="97000">
                <a:schemeClr val="tx1">
                  <a:lumMod val="90000"/>
                  <a:lumOff val="10000"/>
                </a:scheme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44257A0C-EF12-DA55-390C-A472A1E71AC9}"/>
              </a:ext>
            </a:extLst>
          </p:cNvPr>
          <p:cNvSpPr/>
          <p:nvPr userDrawn="1"/>
        </p:nvSpPr>
        <p:spPr bwMode="auto">
          <a:xfrm>
            <a:off x="2482842" y="1129886"/>
            <a:ext cx="2006688" cy="1627200"/>
          </a:xfrm>
          <a:prstGeom prst="roundRect">
            <a:avLst>
              <a:gd name="adj" fmla="val 13600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R="0" lvl="0" indent="0" defTabSz="9144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00821DAE-0B8F-23A6-D282-53A73E46DC41}"/>
              </a:ext>
            </a:extLst>
          </p:cNvPr>
          <p:cNvSpPr/>
          <p:nvPr userDrawn="1"/>
        </p:nvSpPr>
        <p:spPr bwMode="auto">
          <a:xfrm>
            <a:off x="323528" y="1131590"/>
            <a:ext cx="2006688" cy="1627200"/>
          </a:xfrm>
          <a:prstGeom prst="roundRect">
            <a:avLst>
              <a:gd name="adj" fmla="val 1360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4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Длинный заголовок в 2 строки для слайда</a:t>
            </a:r>
            <a:br>
              <a:rPr lang="ru-RU" dirty="0"/>
            </a:br>
            <a:r>
              <a:rPr lang="ru-RU" dirty="0"/>
              <a:t>с цифрами и изображением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id="{071A88E8-AD79-C5C4-84A0-07F83BB36B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699" y="1378110"/>
            <a:ext cx="1716359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8F927480-1DBC-6692-5E78-D3230BC5D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95893" y="1378110"/>
            <a:ext cx="1716359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A74294EE-5C14-8506-F039-2FB09AC808D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44087" y="1378110"/>
            <a:ext cx="1716359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7" name="Текст 2">
            <a:extLst>
              <a:ext uri="{FF2B5EF4-FFF2-40B4-BE49-F238E27FC236}">
                <a16:creationId xmlns:a16="http://schemas.microsoft.com/office/drawing/2014/main" id="{83F0B67D-7962-CCE3-DCE9-F54879F68F8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92280" y="1378110"/>
            <a:ext cx="1716359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23BB3FF6-1ADB-096F-B722-B0F927CDD6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3850" y="2893235"/>
            <a:ext cx="2012400" cy="1627200"/>
          </a:xfrm>
          <a:prstGeom prst="roundRect">
            <a:avLst>
              <a:gd name="adj" fmla="val 13617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31" name="Рисунок 14">
            <a:extLst>
              <a:ext uri="{FF2B5EF4-FFF2-40B4-BE49-F238E27FC236}">
                <a16:creationId xmlns:a16="http://schemas.microsoft.com/office/drawing/2014/main" id="{FD31C152-EAC7-2AE6-254D-917BCE676F6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83768" y="2893235"/>
            <a:ext cx="2012400" cy="1627200"/>
          </a:xfrm>
          <a:prstGeom prst="roundRect">
            <a:avLst>
              <a:gd name="adj" fmla="val 13617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D211E877-0936-A098-59C9-8F8D9F75CF8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53435" y="2893235"/>
            <a:ext cx="2012400" cy="1627200"/>
          </a:xfrm>
          <a:prstGeom prst="roundRect">
            <a:avLst>
              <a:gd name="adj" fmla="val 13617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33" name="Рисунок 14">
            <a:extLst>
              <a:ext uri="{FF2B5EF4-FFF2-40B4-BE49-F238E27FC236}">
                <a16:creationId xmlns:a16="http://schemas.microsoft.com/office/drawing/2014/main" id="{0265C1C9-C355-1BE3-F757-2F9B5603604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98536" y="2893235"/>
            <a:ext cx="2012400" cy="1627200"/>
          </a:xfrm>
          <a:prstGeom prst="roundRect">
            <a:avLst>
              <a:gd name="adj" fmla="val 13617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9989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3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Скругленный прямоугольник 17">
            <a:extLst>
              <a:ext uri="{FF2B5EF4-FFF2-40B4-BE49-F238E27FC236}">
                <a16:creationId xmlns:a16="http://schemas.microsoft.com/office/drawing/2014/main" id="{0B9E8566-E990-41A4-658B-39987BDF19EB}"/>
              </a:ext>
            </a:extLst>
          </p:cNvPr>
          <p:cNvSpPr/>
          <p:nvPr userDrawn="1"/>
        </p:nvSpPr>
        <p:spPr bwMode="auto">
          <a:xfrm>
            <a:off x="323527" y="1131590"/>
            <a:ext cx="2006688" cy="3384848"/>
          </a:xfrm>
          <a:prstGeom prst="roundRect">
            <a:avLst>
              <a:gd name="adj" fmla="val 10942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9" name="Скругленный прямоугольник 18">
            <a:extLst>
              <a:ext uri="{FF2B5EF4-FFF2-40B4-BE49-F238E27FC236}">
                <a16:creationId xmlns:a16="http://schemas.microsoft.com/office/drawing/2014/main" id="{69E72BE0-47ED-5A89-612E-3E6FDD7E0010}"/>
              </a:ext>
            </a:extLst>
          </p:cNvPr>
          <p:cNvSpPr/>
          <p:nvPr userDrawn="1"/>
        </p:nvSpPr>
        <p:spPr bwMode="auto">
          <a:xfrm>
            <a:off x="2485992" y="1131590"/>
            <a:ext cx="2006688" cy="3384848"/>
          </a:xfrm>
          <a:prstGeom prst="roundRect">
            <a:avLst>
              <a:gd name="adj" fmla="val 10372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20" name="Скругленный прямоугольник 19">
            <a:extLst>
              <a:ext uri="{FF2B5EF4-FFF2-40B4-BE49-F238E27FC236}">
                <a16:creationId xmlns:a16="http://schemas.microsoft.com/office/drawing/2014/main" id="{D7A8315E-3BD2-DB67-9C78-0AFA5D056504}"/>
              </a:ext>
            </a:extLst>
          </p:cNvPr>
          <p:cNvSpPr/>
          <p:nvPr userDrawn="1"/>
        </p:nvSpPr>
        <p:spPr bwMode="auto">
          <a:xfrm>
            <a:off x="4648457" y="1131590"/>
            <a:ext cx="2006688" cy="3384848"/>
          </a:xfrm>
          <a:prstGeom prst="roundRect">
            <a:avLst>
              <a:gd name="adj" fmla="val 10309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21" name="Скругленный прямоугольник 20">
            <a:extLst>
              <a:ext uri="{FF2B5EF4-FFF2-40B4-BE49-F238E27FC236}">
                <a16:creationId xmlns:a16="http://schemas.microsoft.com/office/drawing/2014/main" id="{0C0C6769-EF5B-3E70-DE73-05CE588FF9FC}"/>
              </a:ext>
            </a:extLst>
          </p:cNvPr>
          <p:cNvSpPr/>
          <p:nvPr userDrawn="1"/>
        </p:nvSpPr>
        <p:spPr bwMode="auto">
          <a:xfrm>
            <a:off x="6810922" y="1131590"/>
            <a:ext cx="2006688" cy="3384848"/>
          </a:xfrm>
          <a:prstGeom prst="roundRect">
            <a:avLst>
              <a:gd name="adj" fmla="val 10847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6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Длинный заголовок в 2 строки для слайда</a:t>
            </a:r>
            <a:br>
              <a:rPr lang="ru-RU" dirty="0"/>
            </a:br>
            <a:r>
              <a:rPr lang="ru-RU" dirty="0"/>
              <a:t>с цифрами и изображением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Название презентации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id="{071A88E8-AD79-C5C4-84A0-07F83BB36B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699" y="1378110"/>
            <a:ext cx="1716359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8F927480-1DBC-6692-5E78-D3230BC5D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95893" y="1378110"/>
            <a:ext cx="1716359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A74294EE-5C14-8506-F039-2FB09AC808D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44087" y="1378110"/>
            <a:ext cx="1716359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7" name="Текст 2">
            <a:extLst>
              <a:ext uri="{FF2B5EF4-FFF2-40B4-BE49-F238E27FC236}">
                <a16:creationId xmlns:a16="http://schemas.microsoft.com/office/drawing/2014/main" id="{83F0B67D-7962-CCE3-DCE9-F54879F68F8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92280" y="1378110"/>
            <a:ext cx="1716359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1D1A517B-6971-41AE-F7FB-2CBCA26787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3850" y="2893235"/>
            <a:ext cx="2012400" cy="1627200"/>
          </a:xfrm>
          <a:prstGeom prst="roundRect">
            <a:avLst>
              <a:gd name="adj" fmla="val 13617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27" name="Рисунок 14">
            <a:extLst>
              <a:ext uri="{FF2B5EF4-FFF2-40B4-BE49-F238E27FC236}">
                <a16:creationId xmlns:a16="http://schemas.microsoft.com/office/drawing/2014/main" id="{EA5F9158-8032-E92D-FF2E-62B3CDF5639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83768" y="2893235"/>
            <a:ext cx="2012400" cy="1627200"/>
          </a:xfrm>
          <a:prstGeom prst="roundRect">
            <a:avLst>
              <a:gd name="adj" fmla="val 13617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3FD355D8-4DCD-2D68-844B-BAF4124AE6A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53435" y="2893235"/>
            <a:ext cx="2012400" cy="1627200"/>
          </a:xfrm>
          <a:prstGeom prst="roundRect">
            <a:avLst>
              <a:gd name="adj" fmla="val 13617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29" name="Рисунок 14">
            <a:extLst>
              <a:ext uri="{FF2B5EF4-FFF2-40B4-BE49-F238E27FC236}">
                <a16:creationId xmlns:a16="http://schemas.microsoft.com/office/drawing/2014/main" id="{0EA8C3CD-1790-E4D8-4769-26882CEA14D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98536" y="2893235"/>
            <a:ext cx="2012400" cy="1627200"/>
          </a:xfrm>
          <a:prstGeom prst="roundRect">
            <a:avLst>
              <a:gd name="adj" fmla="val 13617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7858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3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Скругленный прямоугольник 19">
            <a:extLst>
              <a:ext uri="{FF2B5EF4-FFF2-40B4-BE49-F238E27FC236}">
                <a16:creationId xmlns:a16="http://schemas.microsoft.com/office/drawing/2014/main" id="{38C6A7B7-91E9-1035-7074-334BED503DC8}"/>
              </a:ext>
            </a:extLst>
          </p:cNvPr>
          <p:cNvSpPr/>
          <p:nvPr userDrawn="1"/>
        </p:nvSpPr>
        <p:spPr bwMode="auto">
          <a:xfrm>
            <a:off x="327258" y="2939381"/>
            <a:ext cx="8485200" cy="1692000"/>
          </a:xfrm>
          <a:prstGeom prst="roundRect">
            <a:avLst>
              <a:gd name="adj" fmla="val 12426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21" name="Скругленный прямоугольник 20">
            <a:extLst>
              <a:ext uri="{FF2B5EF4-FFF2-40B4-BE49-F238E27FC236}">
                <a16:creationId xmlns:a16="http://schemas.microsoft.com/office/drawing/2014/main" id="{292FB438-6820-26F8-F896-DED088730E74}"/>
              </a:ext>
            </a:extLst>
          </p:cNvPr>
          <p:cNvSpPr/>
          <p:nvPr userDrawn="1"/>
        </p:nvSpPr>
        <p:spPr bwMode="auto">
          <a:xfrm>
            <a:off x="327259" y="1131888"/>
            <a:ext cx="8485200" cy="1692000"/>
          </a:xfrm>
          <a:prstGeom prst="roundRect">
            <a:avLst>
              <a:gd name="adj" fmla="val 12187"/>
            </a:avLst>
          </a:prstGeom>
          <a:gradFill>
            <a:gsLst>
              <a:gs pos="0">
                <a:srgbClr val="00737A"/>
              </a:gs>
              <a:gs pos="54000">
                <a:schemeClr val="accent1"/>
              </a:gs>
              <a:gs pos="97000">
                <a:schemeClr val="accent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22" name="Рисунок 12">
            <a:extLst>
              <a:ext uri="{FF2B5EF4-FFF2-40B4-BE49-F238E27FC236}">
                <a16:creationId xmlns:a16="http://schemas.microsoft.com/office/drawing/2014/main" id="{B65118EA-8D3A-059E-9287-1DAAB848CC1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230886" y="1126714"/>
            <a:ext cx="3581400" cy="1695600"/>
          </a:xfrm>
          <a:prstGeom prst="roundRect">
            <a:avLst>
              <a:gd name="adj" fmla="val 11959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23" name="Рисунок 12">
            <a:extLst>
              <a:ext uri="{FF2B5EF4-FFF2-40B4-BE49-F238E27FC236}">
                <a16:creationId xmlns:a16="http://schemas.microsoft.com/office/drawing/2014/main" id="{6DF91580-F445-236D-2C29-30646F7C187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34163" y="2933743"/>
            <a:ext cx="3581400" cy="1695600"/>
          </a:xfrm>
          <a:prstGeom prst="roundRect">
            <a:avLst>
              <a:gd name="adj" fmla="val 11268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8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marL="0" algn="l" defTabSz="778986" rtl="0" eaLnBrk="1" fontAlgn="base" latinLnBrk="0" hangingPunct="1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Длинный заголовок в 2 строки для слайда</a:t>
            </a:r>
            <a:br>
              <a:rPr lang="ru-RU" dirty="0"/>
            </a:br>
            <a:r>
              <a:rPr lang="ru-RU" dirty="0"/>
              <a:t>с цифрами и изображением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Текст 35">
            <a:extLst>
              <a:ext uri="{FF2B5EF4-FFF2-40B4-BE49-F238E27FC236}">
                <a16:creationId xmlns:a16="http://schemas.microsoft.com/office/drawing/2014/main" id="{41CFEA1C-3EF2-318E-6958-2CF78E31E1C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684" y="1410465"/>
            <a:ext cx="4472526" cy="461665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</a:p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  <p:sp>
        <p:nvSpPr>
          <p:cNvPr id="11" name="Текст 35">
            <a:extLst>
              <a:ext uri="{FF2B5EF4-FFF2-40B4-BE49-F238E27FC236}">
                <a16:creationId xmlns:a16="http://schemas.microsoft.com/office/drawing/2014/main" id="{61F39BB4-79AC-C4EC-9B0A-DF4879AA27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3354" y="3163065"/>
            <a:ext cx="4312506" cy="461665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</a:p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  <p:sp>
        <p:nvSpPr>
          <p:cNvPr id="19" name="Нижний колонтитул 6">
            <a:extLst>
              <a:ext uri="{FF2B5EF4-FFF2-40B4-BE49-F238E27FC236}">
                <a16:creationId xmlns:a16="http://schemas.microsoft.com/office/drawing/2014/main" id="{C86F0922-CB85-560E-464F-D004CA2B5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7700" y="4757635"/>
            <a:ext cx="5311574" cy="198551"/>
          </a:xfrm>
        </p:spPr>
        <p:txBody>
          <a:bodyPr/>
          <a:lstStyle/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1956719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id="{C9089E0E-A2B0-942E-FF17-0D717F2C7820}"/>
              </a:ext>
            </a:extLst>
          </p:cNvPr>
          <p:cNvSpPr/>
          <p:nvPr userDrawn="1"/>
        </p:nvSpPr>
        <p:spPr bwMode="auto">
          <a:xfrm>
            <a:off x="323851" y="1131590"/>
            <a:ext cx="2761200" cy="3384000"/>
          </a:xfrm>
          <a:prstGeom prst="roundRect">
            <a:avLst>
              <a:gd name="adj" fmla="val 7744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6" name="Скругленный прямоугольник 15">
            <a:extLst>
              <a:ext uri="{FF2B5EF4-FFF2-40B4-BE49-F238E27FC236}">
                <a16:creationId xmlns:a16="http://schemas.microsoft.com/office/drawing/2014/main" id="{06913512-0F23-A75C-4C22-76F85407F23B}"/>
              </a:ext>
            </a:extLst>
          </p:cNvPr>
          <p:cNvSpPr/>
          <p:nvPr userDrawn="1"/>
        </p:nvSpPr>
        <p:spPr bwMode="auto">
          <a:xfrm>
            <a:off x="3198737" y="1131590"/>
            <a:ext cx="2760312" cy="3382659"/>
          </a:xfrm>
          <a:prstGeom prst="roundRect">
            <a:avLst>
              <a:gd name="adj" fmla="val 7836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7" name="Скругленный прямоугольник 16">
            <a:extLst>
              <a:ext uri="{FF2B5EF4-FFF2-40B4-BE49-F238E27FC236}">
                <a16:creationId xmlns:a16="http://schemas.microsoft.com/office/drawing/2014/main" id="{3373D46A-873F-89C6-7198-C18AFE24F467}"/>
              </a:ext>
            </a:extLst>
          </p:cNvPr>
          <p:cNvSpPr/>
          <p:nvPr userDrawn="1"/>
        </p:nvSpPr>
        <p:spPr bwMode="auto">
          <a:xfrm>
            <a:off x="6084168" y="1131590"/>
            <a:ext cx="2760312" cy="3382659"/>
          </a:xfrm>
          <a:prstGeom prst="roundRect">
            <a:avLst>
              <a:gd name="adj" fmla="val 7468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8" name="Скругленный прямоугольник 17">
            <a:extLst>
              <a:ext uri="{FF2B5EF4-FFF2-40B4-BE49-F238E27FC236}">
                <a16:creationId xmlns:a16="http://schemas.microsoft.com/office/drawing/2014/main" id="{595C0DA8-A069-608D-AC21-4C8F0A09ABD7}"/>
              </a:ext>
            </a:extLst>
          </p:cNvPr>
          <p:cNvSpPr/>
          <p:nvPr userDrawn="1"/>
        </p:nvSpPr>
        <p:spPr bwMode="auto">
          <a:xfrm>
            <a:off x="3199359" y="1120160"/>
            <a:ext cx="2772000" cy="1451590"/>
          </a:xfrm>
          <a:prstGeom prst="roundRect">
            <a:avLst>
              <a:gd name="adj" fmla="val 12833"/>
            </a:avLst>
          </a:prstGeom>
          <a:gradFill>
            <a:gsLst>
              <a:gs pos="0">
                <a:srgbClr val="00737A"/>
              </a:gs>
              <a:gs pos="54000">
                <a:schemeClr val="accent1"/>
              </a:gs>
              <a:gs pos="97000">
                <a:schemeClr val="accent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9" name="Скругленный прямоугольник 18">
            <a:extLst>
              <a:ext uri="{FF2B5EF4-FFF2-40B4-BE49-F238E27FC236}">
                <a16:creationId xmlns:a16="http://schemas.microsoft.com/office/drawing/2014/main" id="{BBAFF08A-046A-D5F4-706C-93A5C71D497C}"/>
              </a:ext>
            </a:extLst>
          </p:cNvPr>
          <p:cNvSpPr/>
          <p:nvPr userDrawn="1"/>
        </p:nvSpPr>
        <p:spPr bwMode="auto">
          <a:xfrm>
            <a:off x="6074866" y="1120160"/>
            <a:ext cx="2772000" cy="1451590"/>
          </a:xfrm>
          <a:prstGeom prst="roundRect">
            <a:avLst>
              <a:gd name="adj" fmla="val 14042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20" name="Скругленный прямоугольник 19">
            <a:extLst>
              <a:ext uri="{FF2B5EF4-FFF2-40B4-BE49-F238E27FC236}">
                <a16:creationId xmlns:a16="http://schemas.microsoft.com/office/drawing/2014/main" id="{A3463B5D-D69D-F6CD-C7B4-EC20AC2E624C}"/>
              </a:ext>
            </a:extLst>
          </p:cNvPr>
          <p:cNvSpPr/>
          <p:nvPr userDrawn="1"/>
        </p:nvSpPr>
        <p:spPr bwMode="auto">
          <a:xfrm>
            <a:off x="312421" y="1120160"/>
            <a:ext cx="2772000" cy="1451590"/>
          </a:xfrm>
          <a:prstGeom prst="roundRect">
            <a:avLst>
              <a:gd name="adj" fmla="val 13067"/>
            </a:avLst>
          </a:prstGeom>
          <a:gradFill>
            <a:gsLst>
              <a:gs pos="58006">
                <a:schemeClr val="tx1">
                  <a:lumMod val="90000"/>
                  <a:lumOff val="10000"/>
                </a:schemeClr>
              </a:gs>
              <a:gs pos="0">
                <a:schemeClr val="tx1"/>
              </a:gs>
              <a:gs pos="97000">
                <a:schemeClr val="tx1">
                  <a:lumMod val="90000"/>
                  <a:lumOff val="10000"/>
                </a:scheme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в 2 строки для слайда с </a:t>
            </a:r>
            <a:r>
              <a:rPr lang="ru-RU" dirty="0" err="1">
                <a:effectLst/>
              </a:rPr>
              <a:t>хайлайтами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7" name="Текст 35">
            <a:extLst>
              <a:ext uri="{FF2B5EF4-FFF2-40B4-BE49-F238E27FC236}">
                <a16:creationId xmlns:a16="http://schemas.microsoft.com/office/drawing/2014/main" id="{16CB427A-5E6A-23BE-7C0D-E6C6E7CB4B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683" y="2719989"/>
            <a:ext cx="2232000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заголовков придают слайдам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слегка журнальный вид.</a:t>
            </a:r>
            <a:endParaRPr lang="ru-RU" dirty="0"/>
          </a:p>
        </p:txBody>
      </p:sp>
      <p:sp>
        <p:nvSpPr>
          <p:cNvPr id="41" name="Текст 35">
            <a:extLst>
              <a:ext uri="{FF2B5EF4-FFF2-40B4-BE49-F238E27FC236}">
                <a16:creationId xmlns:a16="http://schemas.microsoft.com/office/drawing/2014/main" id="{576EEFCB-D07B-EA1F-0662-33B4279229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11569" y="2717800"/>
            <a:ext cx="2232000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заголовков придают слайдам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слегка журнальный вид.</a:t>
            </a:r>
            <a:endParaRPr lang="ru-RU" dirty="0"/>
          </a:p>
        </p:txBody>
      </p:sp>
      <p:sp>
        <p:nvSpPr>
          <p:cNvPr id="43" name="Текст 35">
            <a:extLst>
              <a:ext uri="{FF2B5EF4-FFF2-40B4-BE49-F238E27FC236}">
                <a16:creationId xmlns:a16="http://schemas.microsoft.com/office/drawing/2014/main" id="{0D3F6312-4B6A-50E8-B909-A867018B25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97000" y="2717800"/>
            <a:ext cx="2232000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заголовков придают слайдам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слегка журнальный вид.</a:t>
            </a:r>
            <a:endParaRPr lang="ru-RU" dirty="0"/>
          </a:p>
        </p:txBody>
      </p:sp>
      <p:sp>
        <p:nvSpPr>
          <p:cNvPr id="12" name="Текст 35">
            <a:extLst>
              <a:ext uri="{FF2B5EF4-FFF2-40B4-BE49-F238E27FC236}">
                <a16:creationId xmlns:a16="http://schemas.microsoft.com/office/drawing/2014/main" id="{A3359C25-0177-0EAC-25D6-13D33A953F2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6684" y="1437290"/>
            <a:ext cx="2151063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заголовков придают слайдам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слегка журнальный вид.</a:t>
            </a:r>
            <a:endParaRPr lang="ru-RU" dirty="0"/>
          </a:p>
        </p:txBody>
      </p:sp>
      <p:sp>
        <p:nvSpPr>
          <p:cNvPr id="13" name="Текст 35">
            <a:extLst>
              <a:ext uri="{FF2B5EF4-FFF2-40B4-BE49-F238E27FC236}">
                <a16:creationId xmlns:a16="http://schemas.microsoft.com/office/drawing/2014/main" id="{8A62D965-E425-AA50-98AE-F745CA49DC8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11570" y="1435101"/>
            <a:ext cx="2151063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sz="1000" b="0" i="0" kern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</a:lstStyle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заголовков придают слайдам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слегка журнальный вид.</a:t>
            </a:r>
            <a:endParaRPr lang="ru-RU" dirty="0"/>
          </a:p>
        </p:txBody>
      </p:sp>
      <p:sp>
        <p:nvSpPr>
          <p:cNvPr id="14" name="Текст 35">
            <a:extLst>
              <a:ext uri="{FF2B5EF4-FFF2-40B4-BE49-F238E27FC236}">
                <a16:creationId xmlns:a16="http://schemas.microsoft.com/office/drawing/2014/main" id="{08FF6DC5-EDAC-C3E3-24E4-CC86087CAB4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97001" y="1435101"/>
            <a:ext cx="2151063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заголовков придают слайдам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слегка 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622909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3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B31FE5DA-BE51-E01F-43AB-695A555381B9}"/>
              </a:ext>
            </a:extLst>
          </p:cNvPr>
          <p:cNvSpPr/>
          <p:nvPr userDrawn="1"/>
        </p:nvSpPr>
        <p:spPr bwMode="auto">
          <a:xfrm>
            <a:off x="327258" y="2939381"/>
            <a:ext cx="8485200" cy="1692000"/>
          </a:xfrm>
          <a:prstGeom prst="roundRect">
            <a:avLst>
              <a:gd name="adj" fmla="val 12426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6E2B761A-0DB2-740E-01FF-11BC68B03A85}"/>
              </a:ext>
            </a:extLst>
          </p:cNvPr>
          <p:cNvSpPr/>
          <p:nvPr userDrawn="1"/>
        </p:nvSpPr>
        <p:spPr bwMode="auto">
          <a:xfrm>
            <a:off x="327259" y="1131888"/>
            <a:ext cx="8485200" cy="1692000"/>
          </a:xfrm>
          <a:prstGeom prst="roundRect">
            <a:avLst>
              <a:gd name="adj" fmla="val 12187"/>
            </a:avLst>
          </a:prstGeom>
          <a:gradFill>
            <a:gsLst>
              <a:gs pos="0">
                <a:srgbClr val="00737A"/>
              </a:gs>
              <a:gs pos="54000">
                <a:schemeClr val="accent1"/>
              </a:gs>
              <a:gs pos="97000">
                <a:schemeClr val="accent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7" name="Рисунок 12">
            <a:extLst>
              <a:ext uri="{FF2B5EF4-FFF2-40B4-BE49-F238E27FC236}">
                <a16:creationId xmlns:a16="http://schemas.microsoft.com/office/drawing/2014/main" id="{DD4FD09B-4D4E-8C73-029A-98C216CA64E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230886" y="1126714"/>
            <a:ext cx="3581400" cy="1695600"/>
          </a:xfrm>
          <a:prstGeom prst="roundRect">
            <a:avLst>
              <a:gd name="adj" fmla="val 11959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2" name="Рисунок 12">
            <a:extLst>
              <a:ext uri="{FF2B5EF4-FFF2-40B4-BE49-F238E27FC236}">
                <a16:creationId xmlns:a16="http://schemas.microsoft.com/office/drawing/2014/main" id="{9DC668BA-9080-E51B-56B2-49B5423134E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34163" y="2933743"/>
            <a:ext cx="3581400" cy="1695600"/>
          </a:xfrm>
          <a:prstGeom prst="roundRect">
            <a:avLst>
              <a:gd name="adj" fmla="val 11268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Длинный заголовок в 2 строки для слайда</a:t>
            </a:r>
            <a:br>
              <a:rPr lang="ru-RU" dirty="0"/>
            </a:br>
            <a:r>
              <a:rPr lang="ru-RU" dirty="0"/>
              <a:t>с цифрами и изображением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Текст 35">
            <a:extLst>
              <a:ext uri="{FF2B5EF4-FFF2-40B4-BE49-F238E27FC236}">
                <a16:creationId xmlns:a16="http://schemas.microsoft.com/office/drawing/2014/main" id="{41CFEA1C-3EF2-318E-6958-2CF78E31E1C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684" y="1410465"/>
            <a:ext cx="4472526" cy="461665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</a:p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  <p:sp>
        <p:nvSpPr>
          <p:cNvPr id="11" name="Текст 35">
            <a:extLst>
              <a:ext uri="{FF2B5EF4-FFF2-40B4-BE49-F238E27FC236}">
                <a16:creationId xmlns:a16="http://schemas.microsoft.com/office/drawing/2014/main" id="{61F39BB4-79AC-C4EC-9B0A-DF4879AA27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3354" y="3163065"/>
            <a:ext cx="4312506" cy="461665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</a:p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  <p:sp>
        <p:nvSpPr>
          <p:cNvPr id="14" name="Нижний колонтитул 6">
            <a:extLst>
              <a:ext uri="{FF2B5EF4-FFF2-40B4-BE49-F238E27FC236}">
                <a16:creationId xmlns:a16="http://schemas.microsoft.com/office/drawing/2014/main" id="{5894A3B9-2689-0760-A980-3C76249DEB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7700" y="4757635"/>
            <a:ext cx="5311574" cy="198551"/>
          </a:xfrm>
        </p:spPr>
        <p:txBody>
          <a:bodyPr/>
          <a:lstStyle/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12240297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3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12">
            <a:extLst>
              <a:ext uri="{FF2B5EF4-FFF2-40B4-BE49-F238E27FC236}">
                <a16:creationId xmlns:a16="http://schemas.microsoft.com/office/drawing/2014/main" id="{2B699931-4AF6-169D-52D4-ADB9CFD5A25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21093" y="3055928"/>
            <a:ext cx="4773600" cy="1774800"/>
          </a:xfrm>
          <a:prstGeom prst="roundRect">
            <a:avLst>
              <a:gd name="adj" fmla="val 10742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7" name="Рисунок 12">
            <a:extLst>
              <a:ext uri="{FF2B5EF4-FFF2-40B4-BE49-F238E27FC236}">
                <a16:creationId xmlns:a16="http://schemas.microsoft.com/office/drawing/2014/main" id="{938BB3CA-092D-9A80-37FA-32808E0C43F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21093" y="1131590"/>
            <a:ext cx="4773600" cy="1774800"/>
          </a:xfrm>
          <a:prstGeom prst="roundRect">
            <a:avLst>
              <a:gd name="adj" fmla="val 10742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8" name="Скругленный прямоугольник 7">
            <a:extLst>
              <a:ext uri="{FF2B5EF4-FFF2-40B4-BE49-F238E27FC236}">
                <a16:creationId xmlns:a16="http://schemas.microsoft.com/office/drawing/2014/main" id="{62C6B459-7221-EA28-7F76-F8340107F557}"/>
              </a:ext>
            </a:extLst>
          </p:cNvPr>
          <p:cNvSpPr/>
          <p:nvPr userDrawn="1"/>
        </p:nvSpPr>
        <p:spPr bwMode="auto">
          <a:xfrm>
            <a:off x="5219700" y="1131888"/>
            <a:ext cx="3606666" cy="3680744"/>
          </a:xfrm>
          <a:prstGeom prst="roundRect">
            <a:avLst>
              <a:gd name="adj" fmla="val 5076"/>
            </a:avLst>
          </a:prstGeom>
          <a:gradFill>
            <a:gsLst>
              <a:gs pos="0">
                <a:srgbClr val="00737A"/>
              </a:gs>
              <a:gs pos="54000">
                <a:schemeClr val="accent1"/>
              </a:gs>
              <a:gs pos="97000">
                <a:schemeClr val="accent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Длинный заголовок в 2 строки для слайда</a:t>
            </a:r>
            <a:br>
              <a:rPr lang="ru-RU" dirty="0"/>
            </a:br>
            <a:r>
              <a:rPr lang="ru-RU" dirty="0"/>
              <a:t>с цифрами и изображением</a:t>
            </a:r>
          </a:p>
        </p:txBody>
      </p:sp>
      <p:sp>
        <p:nvSpPr>
          <p:cNvPr id="19" name="Текст 2">
            <a:extLst>
              <a:ext uri="{FF2B5EF4-FFF2-40B4-BE49-F238E27FC236}">
                <a16:creationId xmlns:a16="http://schemas.microsoft.com/office/drawing/2014/main" id="{3117C6AB-E6D6-991B-5EB3-823921996B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43550" y="1378110"/>
            <a:ext cx="2952750" cy="461665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</a:p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7696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4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80986280-F647-8772-BF12-FAF9121195EF}"/>
              </a:ext>
            </a:extLst>
          </p:cNvPr>
          <p:cNvSpPr/>
          <p:nvPr userDrawn="1"/>
        </p:nvSpPr>
        <p:spPr bwMode="auto">
          <a:xfrm>
            <a:off x="320441" y="1131888"/>
            <a:ext cx="3606666" cy="3680744"/>
          </a:xfrm>
          <a:prstGeom prst="roundRect">
            <a:avLst>
              <a:gd name="adj" fmla="val 5076"/>
            </a:avLst>
          </a:prstGeom>
          <a:gradFill>
            <a:gsLst>
              <a:gs pos="0">
                <a:srgbClr val="00737A"/>
              </a:gs>
              <a:gs pos="54000">
                <a:schemeClr val="accent1"/>
              </a:gs>
              <a:gs pos="97000">
                <a:schemeClr val="accent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3" name="Рисунок 12">
            <a:extLst>
              <a:ext uri="{FF2B5EF4-FFF2-40B4-BE49-F238E27FC236}">
                <a16:creationId xmlns:a16="http://schemas.microsoft.com/office/drawing/2014/main" id="{D8F21FC2-1550-626C-6D9C-4DA53C86827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058206" y="3055928"/>
            <a:ext cx="4773600" cy="1774800"/>
          </a:xfrm>
          <a:prstGeom prst="roundRect">
            <a:avLst>
              <a:gd name="adj" fmla="val 10742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5" name="Рисунок 12">
            <a:extLst>
              <a:ext uri="{FF2B5EF4-FFF2-40B4-BE49-F238E27FC236}">
                <a16:creationId xmlns:a16="http://schemas.microsoft.com/office/drawing/2014/main" id="{AAD557F5-A265-6C58-1150-614954AA683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058206" y="1131590"/>
            <a:ext cx="4773600" cy="1774800"/>
          </a:xfrm>
          <a:prstGeom prst="roundRect">
            <a:avLst>
              <a:gd name="adj" fmla="val 10742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Длинный заголовок в 2 строки для слайда</a:t>
            </a:r>
            <a:br>
              <a:rPr lang="ru-RU" dirty="0"/>
            </a:br>
            <a:r>
              <a:rPr lang="ru-RU" dirty="0"/>
              <a:t>с цифрами и изображением</a:t>
            </a:r>
          </a:p>
        </p:txBody>
      </p:sp>
      <p:sp>
        <p:nvSpPr>
          <p:cNvPr id="19" name="Текст 2">
            <a:extLst>
              <a:ext uri="{FF2B5EF4-FFF2-40B4-BE49-F238E27FC236}">
                <a16:creationId xmlns:a16="http://schemas.microsoft.com/office/drawing/2014/main" id="{3117C6AB-E6D6-991B-5EB3-823921996B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7700" y="1378110"/>
            <a:ext cx="2952750" cy="461665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</a:p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169528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4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6E452F45-32AD-31ED-E86A-F6A964B8D44E}"/>
              </a:ext>
            </a:extLst>
          </p:cNvPr>
          <p:cNvSpPr/>
          <p:nvPr userDrawn="1"/>
        </p:nvSpPr>
        <p:spPr bwMode="auto">
          <a:xfrm>
            <a:off x="5219700" y="1131888"/>
            <a:ext cx="3606666" cy="3680744"/>
          </a:xfrm>
          <a:prstGeom prst="roundRect">
            <a:avLst>
              <a:gd name="adj" fmla="val 5076"/>
            </a:avLst>
          </a:prstGeom>
          <a:gradFill>
            <a:gsLst>
              <a:gs pos="0">
                <a:srgbClr val="00737A"/>
              </a:gs>
              <a:gs pos="54000">
                <a:schemeClr val="accent1"/>
              </a:gs>
              <a:gs pos="97000">
                <a:schemeClr val="accent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51F9BED4-AD76-880F-7218-53E5FEA4C474}"/>
              </a:ext>
            </a:extLst>
          </p:cNvPr>
          <p:cNvSpPr/>
          <p:nvPr userDrawn="1"/>
        </p:nvSpPr>
        <p:spPr bwMode="auto">
          <a:xfrm>
            <a:off x="323528" y="3056555"/>
            <a:ext cx="4755600" cy="1774800"/>
          </a:xfrm>
          <a:prstGeom prst="roundRect">
            <a:avLst>
              <a:gd name="adj" fmla="val 11228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8" name="Рисунок 12">
            <a:extLst>
              <a:ext uri="{FF2B5EF4-FFF2-40B4-BE49-F238E27FC236}">
                <a16:creationId xmlns:a16="http://schemas.microsoft.com/office/drawing/2014/main" id="{9E02DA57-0C99-8815-8F8B-352DD0932EA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21093" y="3055928"/>
            <a:ext cx="1947600" cy="1774800"/>
          </a:xfrm>
          <a:prstGeom prst="roundRect">
            <a:avLst>
              <a:gd name="adj" fmla="val 10742"/>
            </a:avLst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id="{BDE36F27-28E5-9CAB-E0C8-B89AAFF6581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21093" y="1131590"/>
            <a:ext cx="4773600" cy="1774800"/>
          </a:xfrm>
          <a:prstGeom prst="roundRect">
            <a:avLst>
              <a:gd name="adj" fmla="val 10742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8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Длинный заголовок в 2 строки для слайда</a:t>
            </a:r>
            <a:br>
              <a:rPr lang="ru-RU" dirty="0"/>
            </a:br>
            <a:r>
              <a:rPr lang="ru-RU" dirty="0"/>
              <a:t>с цифрами и изображением</a:t>
            </a:r>
          </a:p>
        </p:txBody>
      </p:sp>
      <p:sp>
        <p:nvSpPr>
          <p:cNvPr id="19" name="Текст 2">
            <a:extLst>
              <a:ext uri="{FF2B5EF4-FFF2-40B4-BE49-F238E27FC236}">
                <a16:creationId xmlns:a16="http://schemas.microsoft.com/office/drawing/2014/main" id="{3117C6AB-E6D6-991B-5EB3-823921996B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43550" y="1378110"/>
            <a:ext cx="2952750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9B6D90FA-0F1B-F99C-1DEF-FBBEC3D2A2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594331" y="3311910"/>
            <a:ext cx="2315599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57726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4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C330FD20-C233-5555-7742-22D8FDC2F42D}"/>
              </a:ext>
            </a:extLst>
          </p:cNvPr>
          <p:cNvSpPr/>
          <p:nvPr userDrawn="1"/>
        </p:nvSpPr>
        <p:spPr bwMode="auto">
          <a:xfrm>
            <a:off x="320441" y="1131888"/>
            <a:ext cx="3606666" cy="3680744"/>
          </a:xfrm>
          <a:prstGeom prst="roundRect">
            <a:avLst>
              <a:gd name="adj" fmla="val 5076"/>
            </a:avLst>
          </a:prstGeom>
          <a:gradFill>
            <a:gsLst>
              <a:gs pos="0">
                <a:srgbClr val="00737A"/>
              </a:gs>
              <a:gs pos="54000">
                <a:schemeClr val="accent1"/>
              </a:gs>
              <a:gs pos="97000">
                <a:schemeClr val="accent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74AF3B78-6EDB-1853-CB45-284F53B03514}"/>
              </a:ext>
            </a:extLst>
          </p:cNvPr>
          <p:cNvSpPr/>
          <p:nvPr userDrawn="1"/>
        </p:nvSpPr>
        <p:spPr bwMode="auto">
          <a:xfrm>
            <a:off x="4064550" y="3056555"/>
            <a:ext cx="4755600" cy="1774800"/>
          </a:xfrm>
          <a:prstGeom prst="roundRect">
            <a:avLst>
              <a:gd name="adj" fmla="val 11228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8" name="Рисунок 12">
            <a:extLst>
              <a:ext uri="{FF2B5EF4-FFF2-40B4-BE49-F238E27FC236}">
                <a16:creationId xmlns:a16="http://schemas.microsoft.com/office/drawing/2014/main" id="{CEC66BD7-76A3-B426-E862-492E9CAB409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046550" y="1131590"/>
            <a:ext cx="4773600" cy="1774800"/>
          </a:xfrm>
          <a:prstGeom prst="roundRect">
            <a:avLst>
              <a:gd name="adj" fmla="val 10742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id="{3961DEDB-CBF6-69A3-0704-5FDAEAD5A25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60111" y="3044777"/>
            <a:ext cx="1947600" cy="1800000"/>
          </a:xfrm>
          <a:prstGeom prst="roundRect">
            <a:avLst>
              <a:gd name="adj" fmla="val 10742"/>
            </a:avLst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0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Длинный заголовок в 2 строки для слайда</a:t>
            </a:r>
            <a:br>
              <a:rPr lang="ru-RU" dirty="0"/>
            </a:br>
            <a:r>
              <a:rPr lang="ru-RU" dirty="0"/>
              <a:t>с цифрами и изображением</a:t>
            </a:r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id="{8EAA6AD4-34A1-D935-2B12-BDDAC70CE53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7700" y="1378110"/>
            <a:ext cx="2952750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317C2EB0-A44F-467F-5DE5-028D8923264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39428" y="3311910"/>
            <a:ext cx="2315599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25130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4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7">
            <a:extLst>
              <a:ext uri="{FF2B5EF4-FFF2-40B4-BE49-F238E27FC236}">
                <a16:creationId xmlns:a16="http://schemas.microsoft.com/office/drawing/2014/main" id="{C5591237-DF5C-07E6-6BAD-B0C250FDF26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oundRect">
            <a:avLst>
              <a:gd name="adj" fmla="val 0"/>
            </a:avLst>
          </a:prstGeom>
          <a:noFill/>
        </p:spPr>
        <p:txBody>
          <a:bodyPr/>
          <a:lstStyle>
            <a:lvl1pPr>
              <a:defRPr b="0" i="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E9C22589-F629-7244-F48B-11D6DED36963}"/>
              </a:ext>
            </a:extLst>
          </p:cNvPr>
          <p:cNvSpPr/>
          <p:nvPr userDrawn="1"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3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0928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4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69BDFF30-EF21-19F0-3B5D-D9477368481A}"/>
              </a:ext>
            </a:extLst>
          </p:cNvPr>
          <p:cNvSpPr/>
          <p:nvPr userDrawn="1"/>
        </p:nvSpPr>
        <p:spPr bwMode="auto">
          <a:xfrm>
            <a:off x="318052" y="2641600"/>
            <a:ext cx="8503200" cy="2168939"/>
          </a:xfrm>
          <a:prstGeom prst="roundRect">
            <a:avLst>
              <a:gd name="adj" fmla="val 1136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8" name="Скругленный прямоугольник 7">
            <a:extLst>
              <a:ext uri="{FF2B5EF4-FFF2-40B4-BE49-F238E27FC236}">
                <a16:creationId xmlns:a16="http://schemas.microsoft.com/office/drawing/2014/main" id="{7BC681FB-9FB9-CDC4-2A55-039C534EB405}"/>
              </a:ext>
            </a:extLst>
          </p:cNvPr>
          <p:cNvSpPr/>
          <p:nvPr userDrawn="1"/>
        </p:nvSpPr>
        <p:spPr bwMode="auto">
          <a:xfrm>
            <a:off x="318052" y="331304"/>
            <a:ext cx="8503200" cy="2167200"/>
          </a:xfrm>
          <a:prstGeom prst="roundRect">
            <a:avLst>
              <a:gd name="adj" fmla="val 9542"/>
            </a:avLst>
          </a:prstGeom>
          <a:gradFill>
            <a:gsLst>
              <a:gs pos="0">
                <a:srgbClr val="00737A"/>
              </a:gs>
              <a:gs pos="54000">
                <a:schemeClr val="accent1"/>
              </a:gs>
              <a:gs pos="97000">
                <a:schemeClr val="accent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9" name="Рисунок 12">
            <a:extLst>
              <a:ext uri="{FF2B5EF4-FFF2-40B4-BE49-F238E27FC236}">
                <a16:creationId xmlns:a16="http://schemas.microsoft.com/office/drawing/2014/main" id="{EBB68BAD-A0A9-1AFD-F312-B6DA325834E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219700" y="331304"/>
            <a:ext cx="3581400" cy="2167200"/>
          </a:xfrm>
          <a:prstGeom prst="roundRect">
            <a:avLst>
              <a:gd name="adj" fmla="val 8502"/>
            </a:avLst>
          </a:prstGeom>
        </p:spPr>
        <p:txBody>
          <a:bodyPr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2" name="Рисунок 12">
            <a:extLst>
              <a:ext uri="{FF2B5EF4-FFF2-40B4-BE49-F238E27FC236}">
                <a16:creationId xmlns:a16="http://schemas.microsoft.com/office/drawing/2014/main" id="{0CE5CB13-5E16-A3A8-4AAA-8BDD8FC4F85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19700" y="2643339"/>
            <a:ext cx="3581400" cy="2167200"/>
          </a:xfrm>
          <a:prstGeom prst="roundRect">
            <a:avLst>
              <a:gd name="adj" fmla="val 8502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5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Текст 35">
            <a:extLst>
              <a:ext uri="{FF2B5EF4-FFF2-40B4-BE49-F238E27FC236}">
                <a16:creationId xmlns:a16="http://schemas.microsoft.com/office/drawing/2014/main" id="{41CFEA1C-3EF2-318E-6958-2CF78E31E1C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684" y="1477372"/>
            <a:ext cx="4471200" cy="461665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</a:p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  <p:sp>
        <p:nvSpPr>
          <p:cNvPr id="11" name="Текст 35">
            <a:extLst>
              <a:ext uri="{FF2B5EF4-FFF2-40B4-BE49-F238E27FC236}">
                <a16:creationId xmlns:a16="http://schemas.microsoft.com/office/drawing/2014/main" id="{61F39BB4-79AC-C4EC-9B0A-DF4879AA27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3354" y="2783923"/>
            <a:ext cx="4312506" cy="461665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</a:p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E70D97E-AF7A-EB03-5DE1-55F2E19E1B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428934"/>
            <a:ext cx="4471200" cy="964968"/>
          </a:xfrm>
        </p:spPr>
        <p:txBody>
          <a:bodyPr/>
          <a:lstStyle>
            <a:lvl1pPr>
              <a:lnSpc>
                <a:spcPct val="85000"/>
              </a:lnSpc>
              <a:defRPr sz="20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для слайда с цифрами</a:t>
            </a:r>
            <a:br>
              <a:rPr lang="ru-RU" dirty="0"/>
            </a:br>
            <a:r>
              <a:rPr lang="ru-RU" dirty="0"/>
              <a:t>и изображением</a:t>
            </a:r>
          </a:p>
        </p:txBody>
      </p:sp>
    </p:spTree>
    <p:extLst>
      <p:ext uri="{BB962C8B-B14F-4D97-AF65-F5344CB8AC3E}">
        <p14:creationId xmlns:p14="http://schemas.microsoft.com/office/powerpoint/2010/main" val="3858078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4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FD3A26B5-C3E0-65CC-9AFB-926487C7486F}"/>
              </a:ext>
            </a:extLst>
          </p:cNvPr>
          <p:cNvSpPr/>
          <p:nvPr userDrawn="1"/>
        </p:nvSpPr>
        <p:spPr bwMode="auto">
          <a:xfrm>
            <a:off x="318052" y="2641600"/>
            <a:ext cx="8503200" cy="2168939"/>
          </a:xfrm>
          <a:prstGeom prst="roundRect">
            <a:avLst>
              <a:gd name="adj" fmla="val 11360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59409938-898C-D2FD-908E-19BDE421D968}"/>
              </a:ext>
            </a:extLst>
          </p:cNvPr>
          <p:cNvSpPr/>
          <p:nvPr userDrawn="1"/>
        </p:nvSpPr>
        <p:spPr bwMode="auto">
          <a:xfrm>
            <a:off x="318052" y="331304"/>
            <a:ext cx="8503200" cy="2167200"/>
          </a:xfrm>
          <a:prstGeom prst="roundRect">
            <a:avLst>
              <a:gd name="adj" fmla="val 9542"/>
            </a:avLst>
          </a:prstGeom>
          <a:gradFill>
            <a:gsLst>
              <a:gs pos="0">
                <a:srgbClr val="00737A"/>
              </a:gs>
              <a:gs pos="54000">
                <a:schemeClr val="accent1"/>
              </a:gs>
              <a:gs pos="97000">
                <a:schemeClr val="accent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8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Текст 35">
            <a:extLst>
              <a:ext uri="{FF2B5EF4-FFF2-40B4-BE49-F238E27FC236}">
                <a16:creationId xmlns:a16="http://schemas.microsoft.com/office/drawing/2014/main" id="{61F39BB4-79AC-C4EC-9B0A-DF4879AA27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3354" y="2783923"/>
            <a:ext cx="4312506" cy="461665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</a:p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BA19B20-D912-0521-8C11-A69A24C12E6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219700" y="331304"/>
            <a:ext cx="3581400" cy="2167200"/>
          </a:xfrm>
          <a:prstGeom prst="roundRect">
            <a:avLst>
              <a:gd name="adj" fmla="val 8502"/>
            </a:avLst>
          </a:prstGeom>
        </p:spPr>
        <p:txBody>
          <a:bodyPr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7" name="Рисунок 12">
            <a:extLst>
              <a:ext uri="{FF2B5EF4-FFF2-40B4-BE49-F238E27FC236}">
                <a16:creationId xmlns:a16="http://schemas.microsoft.com/office/drawing/2014/main" id="{CF6CF918-3517-B7B5-26B9-2EF133F15F7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19700" y="2643339"/>
            <a:ext cx="3581400" cy="2167200"/>
          </a:xfrm>
          <a:prstGeom prst="roundRect">
            <a:avLst>
              <a:gd name="adj" fmla="val 8502"/>
            </a:avLst>
          </a:prstGeom>
        </p:spPr>
        <p:txBody>
          <a:bodyPr/>
          <a:lstStyle>
            <a:lvl1pPr>
              <a:defRPr b="0" i="0"/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2" name="Текст 35">
            <a:extLst>
              <a:ext uri="{FF2B5EF4-FFF2-40B4-BE49-F238E27FC236}">
                <a16:creationId xmlns:a16="http://schemas.microsoft.com/office/drawing/2014/main" id="{0264C312-1D9E-82C2-BE12-7CFE959AFF9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684" y="1477372"/>
            <a:ext cx="4471200" cy="461665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</a:p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4A3A02DE-28AB-92B0-FA4D-DB78B9C1A0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428934"/>
            <a:ext cx="4471200" cy="964968"/>
          </a:xfrm>
        </p:spPr>
        <p:txBody>
          <a:bodyPr/>
          <a:lstStyle>
            <a:lvl1pPr mar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000" b="1" kern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для слайда с цифрами</a:t>
            </a:r>
            <a:br>
              <a:rPr lang="ru-RU" dirty="0"/>
            </a:br>
            <a:r>
              <a:rPr lang="ru-RU" dirty="0"/>
              <a:t>и изображением</a:t>
            </a:r>
          </a:p>
        </p:txBody>
      </p:sp>
    </p:spTree>
    <p:extLst>
      <p:ext uri="{BB962C8B-B14F-4D97-AF65-F5344CB8AC3E}">
        <p14:creationId xmlns:p14="http://schemas.microsoft.com/office/powerpoint/2010/main" val="1044268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4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E47C83D1-9EDD-F90F-3907-56A1FA17B0F6}"/>
              </a:ext>
            </a:extLst>
          </p:cNvPr>
          <p:cNvSpPr/>
          <p:nvPr userDrawn="1"/>
        </p:nvSpPr>
        <p:spPr bwMode="auto">
          <a:xfrm>
            <a:off x="5194300" y="330750"/>
            <a:ext cx="3606800" cy="4482000"/>
          </a:xfrm>
          <a:prstGeom prst="roundRect">
            <a:avLst>
              <a:gd name="adj" fmla="val 6051"/>
            </a:avLst>
          </a:prstGeom>
          <a:gradFill>
            <a:gsLst>
              <a:gs pos="0">
                <a:srgbClr val="00737A"/>
              </a:gs>
              <a:gs pos="54000">
                <a:schemeClr val="accent1"/>
              </a:gs>
              <a:gs pos="97000">
                <a:schemeClr val="accent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8428C06F-6DC8-261E-C554-866638C5E237}"/>
              </a:ext>
            </a:extLst>
          </p:cNvPr>
          <p:cNvSpPr/>
          <p:nvPr userDrawn="1"/>
        </p:nvSpPr>
        <p:spPr bwMode="auto">
          <a:xfrm>
            <a:off x="316492" y="2623457"/>
            <a:ext cx="4737600" cy="2195775"/>
          </a:xfrm>
          <a:prstGeom prst="roundRect">
            <a:avLst>
              <a:gd name="adj" fmla="val 12915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8" name="Рисунок 12">
            <a:extLst>
              <a:ext uri="{FF2B5EF4-FFF2-40B4-BE49-F238E27FC236}">
                <a16:creationId xmlns:a16="http://schemas.microsoft.com/office/drawing/2014/main" id="{14FEFBBF-A774-FCFC-ACDE-B30A9DD8E1D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16492" y="330750"/>
            <a:ext cx="4746162" cy="2167200"/>
          </a:xfrm>
          <a:prstGeom prst="roundRect">
            <a:avLst>
              <a:gd name="adj" fmla="val 8502"/>
            </a:avLst>
          </a:prstGeom>
        </p:spPr>
        <p:txBody>
          <a:bodyPr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0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Текст 35">
            <a:extLst>
              <a:ext uri="{FF2B5EF4-FFF2-40B4-BE49-F238E27FC236}">
                <a16:creationId xmlns:a16="http://schemas.microsoft.com/office/drawing/2014/main" id="{5AE0591D-0173-B5FC-4E73-782D948FB4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3354" y="2772772"/>
            <a:ext cx="4312506" cy="461665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</a:p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  <p:sp>
        <p:nvSpPr>
          <p:cNvPr id="9" name="Текст 35">
            <a:extLst>
              <a:ext uri="{FF2B5EF4-FFF2-40B4-BE49-F238E27FC236}">
                <a16:creationId xmlns:a16="http://schemas.microsoft.com/office/drawing/2014/main" id="{A5A73493-E3AF-B187-B0B1-CC8FE4264D0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32071" y="1600035"/>
            <a:ext cx="3092400" cy="461665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</a:p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F993094B-5E8D-C249-E497-CF4B1158CD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3085" y="551597"/>
            <a:ext cx="3092400" cy="964968"/>
          </a:xfrm>
        </p:spPr>
        <p:txBody>
          <a:bodyPr/>
          <a:lstStyle>
            <a:lvl1pPr mar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000" b="1" kern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 </a:t>
            </a:r>
            <a:br>
              <a:rPr lang="ru-RU" dirty="0"/>
            </a:br>
            <a:r>
              <a:rPr lang="ru-RU" dirty="0"/>
              <a:t>для слайда с цифрами</a:t>
            </a:r>
            <a:br>
              <a:rPr lang="ru-RU" dirty="0"/>
            </a:br>
            <a:r>
              <a:rPr lang="ru-RU" dirty="0"/>
              <a:t>и изображением</a:t>
            </a:r>
          </a:p>
        </p:txBody>
      </p:sp>
    </p:spTree>
    <p:extLst>
      <p:ext uri="{BB962C8B-B14F-4D97-AF65-F5344CB8AC3E}">
        <p14:creationId xmlns:p14="http://schemas.microsoft.com/office/powerpoint/2010/main" val="2496828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4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E2FD06B8-7E06-F8A2-F01F-9B4A7851E8EC}"/>
              </a:ext>
            </a:extLst>
          </p:cNvPr>
          <p:cNvSpPr/>
          <p:nvPr userDrawn="1"/>
        </p:nvSpPr>
        <p:spPr bwMode="auto">
          <a:xfrm>
            <a:off x="316492" y="330750"/>
            <a:ext cx="3606800" cy="4482000"/>
          </a:xfrm>
          <a:prstGeom prst="roundRect">
            <a:avLst>
              <a:gd name="adj" fmla="val 6051"/>
            </a:avLst>
          </a:prstGeom>
          <a:gradFill>
            <a:gsLst>
              <a:gs pos="0">
                <a:srgbClr val="00737A"/>
              </a:gs>
              <a:gs pos="54000">
                <a:schemeClr val="accent1"/>
              </a:gs>
              <a:gs pos="97000">
                <a:schemeClr val="accent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29D83B56-70A9-1D34-B61E-42662351E67E}"/>
              </a:ext>
            </a:extLst>
          </p:cNvPr>
          <p:cNvSpPr/>
          <p:nvPr userDrawn="1"/>
        </p:nvSpPr>
        <p:spPr bwMode="auto">
          <a:xfrm>
            <a:off x="4098706" y="2623457"/>
            <a:ext cx="4737600" cy="2195775"/>
          </a:xfrm>
          <a:prstGeom prst="roundRect">
            <a:avLst>
              <a:gd name="adj" fmla="val 12915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8" name="Рисунок 12">
            <a:extLst>
              <a:ext uri="{FF2B5EF4-FFF2-40B4-BE49-F238E27FC236}">
                <a16:creationId xmlns:a16="http://schemas.microsoft.com/office/drawing/2014/main" id="{F4EE71C3-5AEF-9E69-4CEC-FA552C3ED94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125951" y="331304"/>
            <a:ext cx="4675149" cy="2167200"/>
          </a:xfrm>
          <a:prstGeom prst="roundRect">
            <a:avLst>
              <a:gd name="adj" fmla="val 8502"/>
            </a:avLst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2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Текст 35">
            <a:extLst>
              <a:ext uri="{FF2B5EF4-FFF2-40B4-BE49-F238E27FC236}">
                <a16:creationId xmlns:a16="http://schemas.microsoft.com/office/drawing/2014/main" id="{753DF420-1BB5-A0E0-25A2-7E2F0C710A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684" y="1600035"/>
            <a:ext cx="3092400" cy="461665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</a:p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F31C4E0E-8DD9-8868-5347-FBD9BC9954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8" y="551597"/>
            <a:ext cx="3092400" cy="964968"/>
          </a:xfrm>
        </p:spPr>
        <p:txBody>
          <a:bodyPr/>
          <a:lstStyle>
            <a:lvl1pPr mar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000" b="1" kern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 </a:t>
            </a:r>
            <a:br>
              <a:rPr lang="ru-RU" dirty="0"/>
            </a:br>
            <a:r>
              <a:rPr lang="ru-RU" dirty="0"/>
              <a:t>для слайда с цифрами</a:t>
            </a:r>
            <a:br>
              <a:rPr lang="ru-RU" dirty="0"/>
            </a:br>
            <a:r>
              <a:rPr lang="ru-RU" dirty="0"/>
              <a:t>и изображением</a:t>
            </a:r>
          </a:p>
        </p:txBody>
      </p:sp>
      <p:sp>
        <p:nvSpPr>
          <p:cNvPr id="5" name="Текст 35">
            <a:extLst>
              <a:ext uri="{FF2B5EF4-FFF2-40B4-BE49-F238E27FC236}">
                <a16:creationId xmlns:a16="http://schemas.microsoft.com/office/drawing/2014/main" id="{1DA1FE95-023D-74EA-EDB9-4A44A2E049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5937" y="2896759"/>
            <a:ext cx="4312506" cy="461665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</a:p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83010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41806568-5FEE-AC96-5861-647A5F77527E}"/>
              </a:ext>
            </a:extLst>
          </p:cNvPr>
          <p:cNvSpPr/>
          <p:nvPr userDrawn="1"/>
        </p:nvSpPr>
        <p:spPr bwMode="auto">
          <a:xfrm>
            <a:off x="323851" y="1131590"/>
            <a:ext cx="2761200" cy="3384000"/>
          </a:xfrm>
          <a:prstGeom prst="roundRect">
            <a:avLst>
              <a:gd name="adj" fmla="val 7744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4" name="Скругленный прямоугольник 13">
            <a:extLst>
              <a:ext uri="{FF2B5EF4-FFF2-40B4-BE49-F238E27FC236}">
                <a16:creationId xmlns:a16="http://schemas.microsoft.com/office/drawing/2014/main" id="{EA898E8C-8611-5716-87E4-8458DD676E69}"/>
              </a:ext>
            </a:extLst>
          </p:cNvPr>
          <p:cNvSpPr/>
          <p:nvPr userDrawn="1"/>
        </p:nvSpPr>
        <p:spPr bwMode="auto">
          <a:xfrm>
            <a:off x="3198737" y="1131590"/>
            <a:ext cx="2760312" cy="3382659"/>
          </a:xfrm>
          <a:prstGeom prst="roundRect">
            <a:avLst>
              <a:gd name="adj" fmla="val 7836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id="{0C95FDDA-024D-4908-3584-5ACCF16E52E0}"/>
              </a:ext>
            </a:extLst>
          </p:cNvPr>
          <p:cNvSpPr/>
          <p:nvPr userDrawn="1"/>
        </p:nvSpPr>
        <p:spPr bwMode="auto">
          <a:xfrm>
            <a:off x="6084168" y="1131590"/>
            <a:ext cx="2760312" cy="3382659"/>
          </a:xfrm>
          <a:prstGeom prst="roundRect">
            <a:avLst>
              <a:gd name="adj" fmla="val 7468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6" name="Скругленный прямоугольник 15">
            <a:extLst>
              <a:ext uri="{FF2B5EF4-FFF2-40B4-BE49-F238E27FC236}">
                <a16:creationId xmlns:a16="http://schemas.microsoft.com/office/drawing/2014/main" id="{8C5ACEEE-A637-1C21-EDDE-4043529C7176}"/>
              </a:ext>
            </a:extLst>
          </p:cNvPr>
          <p:cNvSpPr/>
          <p:nvPr userDrawn="1"/>
        </p:nvSpPr>
        <p:spPr bwMode="auto">
          <a:xfrm>
            <a:off x="3199359" y="1120160"/>
            <a:ext cx="2772000" cy="1451590"/>
          </a:xfrm>
          <a:prstGeom prst="roundRect">
            <a:avLst>
              <a:gd name="adj" fmla="val 12833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9" name="Скругленный прямоугольник 18">
            <a:extLst>
              <a:ext uri="{FF2B5EF4-FFF2-40B4-BE49-F238E27FC236}">
                <a16:creationId xmlns:a16="http://schemas.microsoft.com/office/drawing/2014/main" id="{F9E24D83-29EC-4221-8B21-EA7AD25CBC7C}"/>
              </a:ext>
            </a:extLst>
          </p:cNvPr>
          <p:cNvSpPr/>
          <p:nvPr userDrawn="1"/>
        </p:nvSpPr>
        <p:spPr bwMode="auto">
          <a:xfrm>
            <a:off x="312421" y="1120160"/>
            <a:ext cx="2772000" cy="1451590"/>
          </a:xfrm>
          <a:prstGeom prst="roundRect">
            <a:avLst>
              <a:gd name="adj" fmla="val 13067"/>
            </a:avLst>
          </a:prstGeom>
          <a:gradFill>
            <a:gsLst>
              <a:gs pos="0">
                <a:srgbClr val="00737A"/>
              </a:gs>
              <a:gs pos="54000">
                <a:schemeClr val="accent1"/>
              </a:gs>
              <a:gs pos="97000">
                <a:schemeClr val="accent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в 2 строки для слайда с </a:t>
            </a:r>
            <a:r>
              <a:rPr lang="ru-RU" dirty="0" err="1">
                <a:effectLst/>
              </a:rPr>
              <a:t>хайлайтами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7" name="Текст 35">
            <a:extLst>
              <a:ext uri="{FF2B5EF4-FFF2-40B4-BE49-F238E27FC236}">
                <a16:creationId xmlns:a16="http://schemas.microsoft.com/office/drawing/2014/main" id="{16CB427A-5E6A-23BE-7C0D-E6C6E7CB4B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683" y="2719989"/>
            <a:ext cx="2232000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</a:t>
            </a:r>
            <a:r>
              <a:rPr lang="en-US" dirty="0">
                <a:effectLst/>
              </a:rPr>
              <a:t/>
            </a:r>
            <a:br>
              <a:rPr lang="en-US" dirty="0">
                <a:effectLst/>
              </a:rPr>
            </a:br>
            <a:r>
              <a:rPr lang="ru-RU" dirty="0">
                <a:effectLst/>
              </a:rPr>
              <a:t>заголовков придают слайдам </a:t>
            </a:r>
            <a:r>
              <a:rPr lang="en-US" dirty="0">
                <a:effectLst/>
              </a:rPr>
              <a:t/>
            </a:r>
            <a:br>
              <a:rPr lang="en-US" dirty="0">
                <a:effectLst/>
              </a:rPr>
            </a:br>
            <a:r>
              <a:rPr lang="ru-RU" dirty="0">
                <a:effectLst/>
              </a:rPr>
              <a:t>слегка журнальный вид.</a:t>
            </a:r>
            <a:endParaRPr lang="ru-RU" dirty="0"/>
          </a:p>
        </p:txBody>
      </p:sp>
      <p:sp>
        <p:nvSpPr>
          <p:cNvPr id="41" name="Текст 35">
            <a:extLst>
              <a:ext uri="{FF2B5EF4-FFF2-40B4-BE49-F238E27FC236}">
                <a16:creationId xmlns:a16="http://schemas.microsoft.com/office/drawing/2014/main" id="{576EEFCB-D07B-EA1F-0662-33B4279229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11569" y="2717800"/>
            <a:ext cx="2232000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</a:t>
            </a:r>
            <a:r>
              <a:rPr lang="en-US" dirty="0">
                <a:effectLst/>
              </a:rPr>
              <a:t/>
            </a:r>
            <a:br>
              <a:rPr lang="en-US" dirty="0">
                <a:effectLst/>
              </a:rPr>
            </a:br>
            <a:r>
              <a:rPr lang="ru-RU" dirty="0">
                <a:effectLst/>
              </a:rPr>
              <a:t>заголовков придают слайдам </a:t>
            </a:r>
            <a:r>
              <a:rPr lang="en-US" dirty="0">
                <a:effectLst/>
              </a:rPr>
              <a:t/>
            </a:r>
            <a:br>
              <a:rPr lang="en-US" dirty="0">
                <a:effectLst/>
              </a:rPr>
            </a:br>
            <a:r>
              <a:rPr lang="ru-RU" dirty="0">
                <a:effectLst/>
              </a:rPr>
              <a:t>слегка журнальный вид.</a:t>
            </a:r>
            <a:endParaRPr lang="ru-RU" dirty="0"/>
          </a:p>
        </p:txBody>
      </p:sp>
      <p:sp>
        <p:nvSpPr>
          <p:cNvPr id="43" name="Текст 35">
            <a:extLst>
              <a:ext uri="{FF2B5EF4-FFF2-40B4-BE49-F238E27FC236}">
                <a16:creationId xmlns:a16="http://schemas.microsoft.com/office/drawing/2014/main" id="{0D3F6312-4B6A-50E8-B909-A867018B25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97000" y="2717800"/>
            <a:ext cx="2232000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</a:t>
            </a:r>
            <a:r>
              <a:rPr lang="en-US" dirty="0">
                <a:effectLst/>
              </a:rPr>
              <a:t/>
            </a:r>
            <a:br>
              <a:rPr lang="en-US" dirty="0">
                <a:effectLst/>
              </a:rPr>
            </a:br>
            <a:r>
              <a:rPr lang="ru-RU" dirty="0">
                <a:effectLst/>
              </a:rPr>
              <a:t>заголовков придают слайдам </a:t>
            </a:r>
            <a:r>
              <a:rPr lang="en-US" dirty="0">
                <a:effectLst/>
              </a:rPr>
              <a:t/>
            </a:r>
            <a:br>
              <a:rPr lang="en-US" dirty="0">
                <a:effectLst/>
              </a:rPr>
            </a:br>
            <a:r>
              <a:rPr lang="ru-RU" dirty="0">
                <a:effectLst/>
              </a:rPr>
              <a:t>слегка журнальный вид.</a:t>
            </a:r>
            <a:endParaRPr lang="ru-RU" dirty="0"/>
          </a:p>
        </p:txBody>
      </p:sp>
      <p:sp>
        <p:nvSpPr>
          <p:cNvPr id="12" name="Текст 35">
            <a:extLst>
              <a:ext uri="{FF2B5EF4-FFF2-40B4-BE49-F238E27FC236}">
                <a16:creationId xmlns:a16="http://schemas.microsoft.com/office/drawing/2014/main" id="{A3359C25-0177-0EAC-25D6-13D33A953F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6684" y="1437290"/>
            <a:ext cx="2151063" cy="153888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smtClean="0"/>
              <a:t>Образец текста</a:t>
            </a:r>
          </a:p>
        </p:txBody>
      </p:sp>
      <p:sp>
        <p:nvSpPr>
          <p:cNvPr id="13" name="Текст 35">
            <a:extLst>
              <a:ext uri="{FF2B5EF4-FFF2-40B4-BE49-F238E27FC236}">
                <a16:creationId xmlns:a16="http://schemas.microsoft.com/office/drawing/2014/main" id="{8A62D965-E425-AA50-98AE-F745CA49DC8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511570" y="1435101"/>
            <a:ext cx="2151063" cy="153888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smtClean="0"/>
              <a:t>Образец текста</a:t>
            </a:r>
          </a:p>
        </p:txBody>
      </p:sp>
      <p:sp>
        <p:nvSpPr>
          <p:cNvPr id="20" name="Рисунок 15">
            <a:extLst>
              <a:ext uri="{FF2B5EF4-FFF2-40B4-BE49-F238E27FC236}">
                <a16:creationId xmlns:a16="http://schemas.microsoft.com/office/drawing/2014/main" id="{B5FCF05E-92F3-8F0A-9D7C-75EC6962401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69330" y="1130300"/>
            <a:ext cx="2788920" cy="1443600"/>
          </a:xfrm>
          <a:prstGeom prst="roundRect">
            <a:avLst>
              <a:gd name="adj" fmla="val 12317"/>
            </a:avLst>
          </a:prstGeo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5325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4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163428A2-C91E-3601-E3BF-FC8EA1165D93}"/>
              </a:ext>
            </a:extLst>
          </p:cNvPr>
          <p:cNvSpPr/>
          <p:nvPr userDrawn="1"/>
        </p:nvSpPr>
        <p:spPr bwMode="auto">
          <a:xfrm>
            <a:off x="316492" y="330750"/>
            <a:ext cx="3606800" cy="4482000"/>
          </a:xfrm>
          <a:prstGeom prst="roundRect">
            <a:avLst>
              <a:gd name="adj" fmla="val 6051"/>
            </a:avLst>
          </a:prstGeom>
          <a:gradFill>
            <a:gsLst>
              <a:gs pos="58006">
                <a:schemeClr val="tx1">
                  <a:lumMod val="90000"/>
                  <a:lumOff val="10000"/>
                </a:schemeClr>
              </a:gs>
              <a:gs pos="0">
                <a:schemeClr val="tx1"/>
              </a:gs>
              <a:gs pos="97000">
                <a:schemeClr val="tx1">
                  <a:lumMod val="90000"/>
                  <a:lumOff val="10000"/>
                </a:scheme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5" name="Рисунок 12">
            <a:extLst>
              <a:ext uri="{FF2B5EF4-FFF2-40B4-BE49-F238E27FC236}">
                <a16:creationId xmlns:a16="http://schemas.microsoft.com/office/drawing/2014/main" id="{29215190-7DFC-B4B2-1F3B-FAFE4AAFF6F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125951" y="331304"/>
            <a:ext cx="4675149" cy="2167200"/>
          </a:xfrm>
          <a:prstGeom prst="roundRect">
            <a:avLst>
              <a:gd name="adj" fmla="val 8502"/>
            </a:avLst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6" name="Рисунок 12">
            <a:extLst>
              <a:ext uri="{FF2B5EF4-FFF2-40B4-BE49-F238E27FC236}">
                <a16:creationId xmlns:a16="http://schemas.microsoft.com/office/drawing/2014/main" id="{7C3CA2A2-C6AA-D555-6C2F-5A6EDACD544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125951" y="2647040"/>
            <a:ext cx="4675149" cy="2167200"/>
          </a:xfrm>
          <a:prstGeom prst="roundRect">
            <a:avLst>
              <a:gd name="adj" fmla="val 8502"/>
            </a:avLst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Текст 35">
            <a:extLst>
              <a:ext uri="{FF2B5EF4-FFF2-40B4-BE49-F238E27FC236}">
                <a16:creationId xmlns:a16="http://schemas.microsoft.com/office/drawing/2014/main" id="{753DF420-1BB5-A0E0-25A2-7E2F0C710A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684" y="1600035"/>
            <a:ext cx="3092400" cy="461665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</a:p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F31C4E0E-8DD9-8868-5347-FBD9BC9954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8" y="551597"/>
            <a:ext cx="3092400" cy="964968"/>
          </a:xfrm>
        </p:spPr>
        <p:txBody>
          <a:bodyPr/>
          <a:lstStyle>
            <a:lvl1pPr mar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000" b="1" kern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 </a:t>
            </a:r>
            <a:br>
              <a:rPr lang="ru-RU" dirty="0"/>
            </a:br>
            <a:r>
              <a:rPr lang="ru-RU" dirty="0"/>
              <a:t>для слайда с цифрами</a:t>
            </a:r>
            <a:br>
              <a:rPr lang="ru-RU" dirty="0"/>
            </a:br>
            <a:r>
              <a:rPr lang="ru-RU" dirty="0"/>
              <a:t>и изображением</a:t>
            </a:r>
          </a:p>
        </p:txBody>
      </p:sp>
    </p:spTree>
    <p:extLst>
      <p:ext uri="{BB962C8B-B14F-4D97-AF65-F5344CB8AC3E}">
        <p14:creationId xmlns:p14="http://schemas.microsoft.com/office/powerpoint/2010/main" val="3709837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4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4B947A65-F178-CF33-3F10-04C45C317281}"/>
              </a:ext>
            </a:extLst>
          </p:cNvPr>
          <p:cNvSpPr/>
          <p:nvPr userDrawn="1"/>
        </p:nvSpPr>
        <p:spPr bwMode="auto">
          <a:xfrm>
            <a:off x="5211879" y="330750"/>
            <a:ext cx="3606800" cy="4482000"/>
          </a:xfrm>
          <a:prstGeom prst="roundRect">
            <a:avLst>
              <a:gd name="adj" fmla="val 6051"/>
            </a:avLst>
          </a:prstGeom>
          <a:gradFill>
            <a:gsLst>
              <a:gs pos="58006">
                <a:schemeClr val="tx1">
                  <a:lumMod val="90000"/>
                  <a:lumOff val="10000"/>
                </a:schemeClr>
              </a:gs>
              <a:gs pos="0">
                <a:schemeClr val="tx1"/>
              </a:gs>
              <a:gs pos="97000">
                <a:schemeClr val="tx1">
                  <a:lumMod val="90000"/>
                  <a:lumOff val="10000"/>
                </a:scheme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5" name="Рисунок 12">
            <a:extLst>
              <a:ext uri="{FF2B5EF4-FFF2-40B4-BE49-F238E27FC236}">
                <a16:creationId xmlns:a16="http://schemas.microsoft.com/office/drawing/2014/main" id="{9B790E10-0600-353E-EF56-56B1D4C168C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16492" y="331304"/>
            <a:ext cx="4675149" cy="2167200"/>
          </a:xfrm>
          <a:prstGeom prst="roundRect">
            <a:avLst>
              <a:gd name="adj" fmla="val 8502"/>
            </a:avLst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6" name="Рисунок 12">
            <a:extLst>
              <a:ext uri="{FF2B5EF4-FFF2-40B4-BE49-F238E27FC236}">
                <a16:creationId xmlns:a16="http://schemas.microsoft.com/office/drawing/2014/main" id="{554FEA06-F432-7406-1936-DAE374D3ECC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16492" y="2647040"/>
            <a:ext cx="4675149" cy="2167200"/>
          </a:xfrm>
          <a:prstGeom prst="roundRect">
            <a:avLst>
              <a:gd name="adj" fmla="val 8502"/>
            </a:avLst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7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Текст 35">
            <a:extLst>
              <a:ext uri="{FF2B5EF4-FFF2-40B4-BE49-F238E27FC236}">
                <a16:creationId xmlns:a16="http://schemas.microsoft.com/office/drawing/2014/main" id="{753DF420-1BB5-A0E0-25A2-7E2F0C710A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32071" y="1600035"/>
            <a:ext cx="3092400" cy="461665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</a:p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F31C4E0E-8DD9-8868-5347-FBD9BC9954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3085" y="551597"/>
            <a:ext cx="3092400" cy="964968"/>
          </a:xfrm>
        </p:spPr>
        <p:txBody>
          <a:bodyPr/>
          <a:lstStyle>
            <a:lvl1pPr mar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000" b="1" kern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 </a:t>
            </a:r>
            <a:br>
              <a:rPr lang="ru-RU" dirty="0"/>
            </a:br>
            <a:r>
              <a:rPr lang="ru-RU" dirty="0"/>
              <a:t>для слайда с цифрами</a:t>
            </a:r>
            <a:br>
              <a:rPr lang="ru-RU" dirty="0"/>
            </a:br>
            <a:r>
              <a:rPr lang="ru-RU" dirty="0"/>
              <a:t>и изображением</a:t>
            </a:r>
          </a:p>
        </p:txBody>
      </p:sp>
    </p:spTree>
    <p:extLst>
      <p:ext uri="{BB962C8B-B14F-4D97-AF65-F5344CB8AC3E}">
        <p14:creationId xmlns:p14="http://schemas.microsoft.com/office/powerpoint/2010/main" val="1240701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7">
            <a:extLst>
              <a:ext uri="{FF2B5EF4-FFF2-40B4-BE49-F238E27FC236}">
                <a16:creationId xmlns:a16="http://schemas.microsoft.com/office/drawing/2014/main" id="{C5591237-DF5C-07E6-6BAD-B0C250FDF26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oundRect">
            <a:avLst>
              <a:gd name="adj" fmla="val 0"/>
            </a:avLst>
          </a:prstGeom>
          <a:noFill/>
        </p:spPr>
        <p:txBody>
          <a:bodyPr/>
          <a:lstStyle>
            <a:lvl1pPr>
              <a:defRPr b="0" i="0"/>
            </a:lvl1pPr>
          </a:lstStyle>
          <a:p>
            <a:r>
              <a:rPr lang="ru-RU" dirty="0"/>
              <a:t>Фото</a:t>
            </a:r>
          </a:p>
        </p:txBody>
      </p:sp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0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9084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5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олилиния 5">
            <a:extLst>
              <a:ext uri="{FF2B5EF4-FFF2-40B4-BE49-F238E27FC236}">
                <a16:creationId xmlns:a16="http://schemas.microsoft.com/office/drawing/2014/main" id="{88BBC3A7-9FF4-54FE-F2CE-A861CF47CC4F}"/>
              </a:ext>
            </a:extLst>
          </p:cNvPr>
          <p:cNvSpPr/>
          <p:nvPr userDrawn="1"/>
        </p:nvSpPr>
        <p:spPr bwMode="auto">
          <a:xfrm>
            <a:off x="6560205" y="1198480"/>
            <a:ext cx="2583795" cy="3326400"/>
          </a:xfrm>
          <a:custGeom>
            <a:avLst/>
            <a:gdLst>
              <a:gd name="connsiteX0" fmla="*/ 219572 w 2583795"/>
              <a:gd name="connsiteY0" fmla="*/ 0 h 3326400"/>
              <a:gd name="connsiteX1" fmla="*/ 347193 w 2583795"/>
              <a:gd name="connsiteY1" fmla="*/ 0 h 3326400"/>
              <a:gd name="connsiteX2" fmla="*/ 1787116 w 2583795"/>
              <a:gd name="connsiteY2" fmla="*/ 0 h 3326400"/>
              <a:gd name="connsiteX3" fmla="*/ 2583795 w 2583795"/>
              <a:gd name="connsiteY3" fmla="*/ 0 h 3326400"/>
              <a:gd name="connsiteX4" fmla="*/ 2583795 w 2583795"/>
              <a:gd name="connsiteY4" fmla="*/ 3326400 h 3326400"/>
              <a:gd name="connsiteX5" fmla="*/ 1787116 w 2583795"/>
              <a:gd name="connsiteY5" fmla="*/ 3326400 h 3326400"/>
              <a:gd name="connsiteX6" fmla="*/ 347193 w 2583795"/>
              <a:gd name="connsiteY6" fmla="*/ 3326400 h 3326400"/>
              <a:gd name="connsiteX7" fmla="*/ 219572 w 2583795"/>
              <a:gd name="connsiteY7" fmla="*/ 3326400 h 3326400"/>
              <a:gd name="connsiteX8" fmla="*/ 0 w 2583795"/>
              <a:gd name="connsiteY8" fmla="*/ 3106828 h 3326400"/>
              <a:gd name="connsiteX9" fmla="*/ 0 w 2583795"/>
              <a:gd name="connsiteY9" fmla="*/ 219572 h 3326400"/>
              <a:gd name="connsiteX10" fmla="*/ 219572 w 2583795"/>
              <a:gd name="connsiteY10" fmla="*/ 0 h 332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583795" h="3326400">
                <a:moveTo>
                  <a:pt x="219572" y="0"/>
                </a:moveTo>
                <a:lnTo>
                  <a:pt x="347193" y="0"/>
                </a:lnTo>
                <a:lnTo>
                  <a:pt x="1787116" y="0"/>
                </a:lnTo>
                <a:lnTo>
                  <a:pt x="2583795" y="0"/>
                </a:lnTo>
                <a:lnTo>
                  <a:pt x="2583795" y="3326400"/>
                </a:lnTo>
                <a:lnTo>
                  <a:pt x="1787116" y="3326400"/>
                </a:lnTo>
                <a:lnTo>
                  <a:pt x="347193" y="3326400"/>
                </a:lnTo>
                <a:lnTo>
                  <a:pt x="219572" y="3326400"/>
                </a:lnTo>
                <a:cubicBezTo>
                  <a:pt x="98306" y="3326400"/>
                  <a:pt x="0" y="3228094"/>
                  <a:pt x="0" y="3106828"/>
                </a:cubicBezTo>
                <a:lnTo>
                  <a:pt x="0" y="219572"/>
                </a:lnTo>
                <a:cubicBezTo>
                  <a:pt x="0" y="98306"/>
                  <a:pt x="98306" y="0"/>
                  <a:pt x="219572" y="0"/>
                </a:cubicBezTo>
                <a:close/>
              </a:path>
            </a:pathLst>
          </a:cu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0" name="Рисунок 10">
            <a:extLst>
              <a:ext uri="{FF2B5EF4-FFF2-40B4-BE49-F238E27FC236}">
                <a16:creationId xmlns:a16="http://schemas.microsoft.com/office/drawing/2014/main" id="{29C16976-2041-3450-9084-F8821DEBFE7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393681" y="1203325"/>
            <a:ext cx="2012400" cy="3319200"/>
          </a:xfrm>
          <a:prstGeom prst="roundRect">
            <a:avLst>
              <a:gd name="adj" fmla="val 11383"/>
            </a:avLst>
          </a:prstGeom>
        </p:spPr>
        <p:txBody>
          <a:bodyPr/>
          <a:lstStyle/>
          <a:p>
            <a:endParaRPr lang="ru-RU"/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99BCB42C-A2FA-E769-5C32-1DD00A1C1176}"/>
              </a:ext>
            </a:extLst>
          </p:cNvPr>
          <p:cNvSpPr/>
          <p:nvPr userDrawn="1"/>
        </p:nvSpPr>
        <p:spPr bwMode="auto">
          <a:xfrm>
            <a:off x="323528" y="1214092"/>
            <a:ext cx="3924622" cy="1606259"/>
          </a:xfrm>
          <a:prstGeom prst="roundRect">
            <a:avLst>
              <a:gd name="adj" fmla="val 13483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4" name="Скругленный прямоугольник 13">
            <a:extLst>
              <a:ext uri="{FF2B5EF4-FFF2-40B4-BE49-F238E27FC236}">
                <a16:creationId xmlns:a16="http://schemas.microsoft.com/office/drawing/2014/main" id="{796646A9-5B5A-7FCC-74EB-72A0110C64F8}"/>
              </a:ext>
            </a:extLst>
          </p:cNvPr>
          <p:cNvSpPr/>
          <p:nvPr userDrawn="1"/>
        </p:nvSpPr>
        <p:spPr bwMode="auto">
          <a:xfrm>
            <a:off x="323528" y="2916004"/>
            <a:ext cx="3924622" cy="1606259"/>
          </a:xfrm>
          <a:prstGeom prst="roundRect">
            <a:avLst>
              <a:gd name="adj" fmla="val 13483"/>
            </a:avLst>
          </a:prstGeom>
          <a:gradFill>
            <a:gsLst>
              <a:gs pos="0">
                <a:srgbClr val="00737A"/>
              </a:gs>
              <a:gs pos="54000">
                <a:schemeClr val="accent1"/>
              </a:gs>
              <a:gs pos="97000">
                <a:schemeClr val="accent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7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в 2 строки для слайда с выводами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7" name="Текст 35">
            <a:extLst>
              <a:ext uri="{FF2B5EF4-FFF2-40B4-BE49-F238E27FC236}">
                <a16:creationId xmlns:a16="http://schemas.microsoft.com/office/drawing/2014/main" id="{16CB427A-5E6A-23BE-7C0D-E6C6E7CB4B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684" y="1410466"/>
            <a:ext cx="3342192" cy="461665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  <p:sp>
        <p:nvSpPr>
          <p:cNvPr id="43" name="Текст 35">
            <a:extLst>
              <a:ext uri="{FF2B5EF4-FFF2-40B4-BE49-F238E27FC236}">
                <a16:creationId xmlns:a16="http://schemas.microsoft.com/office/drawing/2014/main" id="{0D3F6312-4B6A-50E8-B909-A867018B25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75941" y="1408276"/>
            <a:ext cx="1930737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журнальный вид.</a:t>
            </a:r>
            <a:endParaRPr lang="ru-RU" dirty="0"/>
          </a:p>
        </p:txBody>
      </p:sp>
      <p:sp>
        <p:nvSpPr>
          <p:cNvPr id="12" name="Текст 35">
            <a:extLst>
              <a:ext uri="{FF2B5EF4-FFF2-40B4-BE49-F238E27FC236}">
                <a16:creationId xmlns:a16="http://schemas.microsoft.com/office/drawing/2014/main" id="{4EC3B152-5977-694C-344D-ACE76B082C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7200" y="3075806"/>
            <a:ext cx="3342192" cy="461665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4463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5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олилиния 13">
            <a:extLst>
              <a:ext uri="{FF2B5EF4-FFF2-40B4-BE49-F238E27FC236}">
                <a16:creationId xmlns:a16="http://schemas.microsoft.com/office/drawing/2014/main" id="{DB11961B-FDFD-424C-B5F1-D847BAE985DE}"/>
              </a:ext>
            </a:extLst>
          </p:cNvPr>
          <p:cNvSpPr/>
          <p:nvPr userDrawn="1"/>
        </p:nvSpPr>
        <p:spPr bwMode="auto">
          <a:xfrm>
            <a:off x="6548482" y="0"/>
            <a:ext cx="2595519" cy="4563330"/>
          </a:xfrm>
          <a:custGeom>
            <a:avLst/>
            <a:gdLst>
              <a:gd name="connsiteX0" fmla="*/ 219572 w 2595519"/>
              <a:gd name="connsiteY0" fmla="*/ 0 h 4563330"/>
              <a:gd name="connsiteX1" fmla="*/ 1787116 w 2595519"/>
              <a:gd name="connsiteY1" fmla="*/ 0 h 4563330"/>
              <a:gd name="connsiteX2" fmla="*/ 1787121 w 2595519"/>
              <a:gd name="connsiteY2" fmla="*/ 1 h 4563330"/>
              <a:gd name="connsiteX3" fmla="*/ 2595519 w 2595519"/>
              <a:gd name="connsiteY3" fmla="*/ 1 h 4563330"/>
              <a:gd name="connsiteX4" fmla="*/ 2595519 w 2595519"/>
              <a:gd name="connsiteY4" fmla="*/ 4560278 h 4563330"/>
              <a:gd name="connsiteX5" fmla="*/ 1802233 w 2595519"/>
              <a:gd name="connsiteY5" fmla="*/ 4560278 h 4563330"/>
              <a:gd name="connsiteX6" fmla="*/ 1787116 w 2595519"/>
              <a:gd name="connsiteY6" fmla="*/ 4563330 h 4563330"/>
              <a:gd name="connsiteX7" fmla="*/ 219572 w 2595519"/>
              <a:gd name="connsiteY7" fmla="*/ 4563330 h 4563330"/>
              <a:gd name="connsiteX8" fmla="*/ 0 w 2595519"/>
              <a:gd name="connsiteY8" fmla="*/ 4343758 h 4563330"/>
              <a:gd name="connsiteX9" fmla="*/ 0 w 2595519"/>
              <a:gd name="connsiteY9" fmla="*/ 219572 h 4563330"/>
              <a:gd name="connsiteX10" fmla="*/ 219572 w 2595519"/>
              <a:gd name="connsiteY10" fmla="*/ 0 h 4563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595519" h="4563330">
                <a:moveTo>
                  <a:pt x="219572" y="0"/>
                </a:moveTo>
                <a:lnTo>
                  <a:pt x="1787116" y="0"/>
                </a:lnTo>
                <a:lnTo>
                  <a:pt x="1787121" y="1"/>
                </a:lnTo>
                <a:lnTo>
                  <a:pt x="2595519" y="1"/>
                </a:lnTo>
                <a:lnTo>
                  <a:pt x="2595519" y="4560278"/>
                </a:lnTo>
                <a:lnTo>
                  <a:pt x="1802233" y="4560278"/>
                </a:lnTo>
                <a:lnTo>
                  <a:pt x="1787116" y="4563330"/>
                </a:lnTo>
                <a:lnTo>
                  <a:pt x="219572" y="4563330"/>
                </a:lnTo>
                <a:cubicBezTo>
                  <a:pt x="98306" y="4563330"/>
                  <a:pt x="0" y="4465024"/>
                  <a:pt x="0" y="4343758"/>
                </a:cubicBezTo>
                <a:lnTo>
                  <a:pt x="0" y="219572"/>
                </a:lnTo>
                <a:cubicBezTo>
                  <a:pt x="0" y="98306"/>
                  <a:pt x="98306" y="0"/>
                  <a:pt x="219572" y="0"/>
                </a:cubicBezTo>
                <a:close/>
              </a:path>
            </a:pathLst>
          </a:cu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2" name="Рисунок 10">
            <a:extLst>
              <a:ext uri="{FF2B5EF4-FFF2-40B4-BE49-F238E27FC236}">
                <a16:creationId xmlns:a16="http://schemas.microsoft.com/office/drawing/2014/main" id="{175DB7B8-C740-99E2-17EF-1252DB4E2F0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393681" y="1203325"/>
            <a:ext cx="2012400" cy="3319200"/>
          </a:xfrm>
          <a:prstGeom prst="roundRect">
            <a:avLst>
              <a:gd name="adj" fmla="val 11383"/>
            </a:avLst>
          </a:prstGeom>
        </p:spPr>
        <p:txBody>
          <a:bodyPr/>
          <a:lstStyle/>
          <a:p>
            <a:endParaRPr lang="ru-RU"/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9AC9E507-E684-6F5E-9599-926730A10A92}"/>
              </a:ext>
            </a:extLst>
          </p:cNvPr>
          <p:cNvSpPr/>
          <p:nvPr userDrawn="1"/>
        </p:nvSpPr>
        <p:spPr bwMode="auto">
          <a:xfrm>
            <a:off x="323528" y="1214092"/>
            <a:ext cx="3924622" cy="1606259"/>
          </a:xfrm>
          <a:prstGeom prst="roundRect">
            <a:avLst>
              <a:gd name="adj" fmla="val 13483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A5DDAE0F-63B7-555E-4B3B-B7A5A5D964FC}"/>
              </a:ext>
            </a:extLst>
          </p:cNvPr>
          <p:cNvSpPr/>
          <p:nvPr userDrawn="1"/>
        </p:nvSpPr>
        <p:spPr bwMode="auto">
          <a:xfrm>
            <a:off x="323528" y="2916004"/>
            <a:ext cx="3924622" cy="1606259"/>
          </a:xfrm>
          <a:prstGeom prst="roundRect">
            <a:avLst>
              <a:gd name="adj" fmla="val 13483"/>
            </a:avLst>
          </a:prstGeom>
          <a:gradFill>
            <a:gsLst>
              <a:gs pos="0">
                <a:srgbClr val="00737A"/>
              </a:gs>
              <a:gs pos="54000">
                <a:schemeClr val="accent1"/>
              </a:gs>
              <a:gs pos="97000">
                <a:schemeClr val="accent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9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7701" y="339724"/>
            <a:ext cx="5739847" cy="684213"/>
          </a:xfrm>
        </p:spPr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в 2 строки для слайда с выводами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7" name="Текст 35">
            <a:extLst>
              <a:ext uri="{FF2B5EF4-FFF2-40B4-BE49-F238E27FC236}">
                <a16:creationId xmlns:a16="http://schemas.microsoft.com/office/drawing/2014/main" id="{16CB427A-5E6A-23BE-7C0D-E6C6E7CB4B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684" y="1410466"/>
            <a:ext cx="3342192" cy="461665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  <p:sp>
        <p:nvSpPr>
          <p:cNvPr id="43" name="Текст 35">
            <a:extLst>
              <a:ext uri="{FF2B5EF4-FFF2-40B4-BE49-F238E27FC236}">
                <a16:creationId xmlns:a16="http://schemas.microsoft.com/office/drawing/2014/main" id="{0D3F6312-4B6A-50E8-B909-A867018B25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75941" y="331303"/>
            <a:ext cx="1943989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журнальный вид.</a:t>
            </a:r>
            <a:endParaRPr lang="ru-RU" dirty="0"/>
          </a:p>
        </p:txBody>
      </p:sp>
      <p:sp>
        <p:nvSpPr>
          <p:cNvPr id="12" name="Текст 35">
            <a:extLst>
              <a:ext uri="{FF2B5EF4-FFF2-40B4-BE49-F238E27FC236}">
                <a16:creationId xmlns:a16="http://schemas.microsoft.com/office/drawing/2014/main" id="{4EC3B152-5977-694C-344D-ACE76B082C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7200" y="3075806"/>
            <a:ext cx="3342192" cy="461665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48522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5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лилиния 1">
            <a:extLst>
              <a:ext uri="{FF2B5EF4-FFF2-40B4-BE49-F238E27FC236}">
                <a16:creationId xmlns:a16="http://schemas.microsoft.com/office/drawing/2014/main" id="{260ACC8F-4064-114D-FC96-162E03F22781}"/>
              </a:ext>
            </a:extLst>
          </p:cNvPr>
          <p:cNvSpPr/>
          <p:nvPr userDrawn="1"/>
        </p:nvSpPr>
        <p:spPr bwMode="auto">
          <a:xfrm>
            <a:off x="6224955" y="-2"/>
            <a:ext cx="2919045" cy="4560278"/>
          </a:xfrm>
          <a:custGeom>
            <a:avLst/>
            <a:gdLst>
              <a:gd name="connsiteX0" fmla="*/ 996460 w 2919045"/>
              <a:gd name="connsiteY0" fmla="*/ 0 h 4560278"/>
              <a:gd name="connsiteX1" fmla="*/ 2919045 w 2919045"/>
              <a:gd name="connsiteY1" fmla="*/ 0 h 4560278"/>
              <a:gd name="connsiteX2" fmla="*/ 2919045 w 2919045"/>
              <a:gd name="connsiteY2" fmla="*/ 4560277 h 4560278"/>
              <a:gd name="connsiteX3" fmla="*/ 2590800 w 2919045"/>
              <a:gd name="connsiteY3" fmla="*/ 4560277 h 4560278"/>
              <a:gd name="connsiteX4" fmla="*/ 2590800 w 2919045"/>
              <a:gd name="connsiteY4" fmla="*/ 4560278 h 4560278"/>
              <a:gd name="connsiteX5" fmla="*/ 1789023 w 2919045"/>
              <a:gd name="connsiteY5" fmla="*/ 4560278 h 4560278"/>
              <a:gd name="connsiteX6" fmla="*/ 390766 w 2919045"/>
              <a:gd name="connsiteY6" fmla="*/ 4560278 h 4560278"/>
              <a:gd name="connsiteX7" fmla="*/ 217665 w 2919045"/>
              <a:gd name="connsiteY7" fmla="*/ 4560278 h 4560278"/>
              <a:gd name="connsiteX8" fmla="*/ 0 w 2919045"/>
              <a:gd name="connsiteY8" fmla="*/ 4342613 h 4560278"/>
              <a:gd name="connsiteX9" fmla="*/ 0 w 2919045"/>
              <a:gd name="connsiteY9" fmla="*/ 4169512 h 4560278"/>
              <a:gd name="connsiteX10" fmla="*/ 0 w 2919045"/>
              <a:gd name="connsiteY10" fmla="*/ 390767 h 4560278"/>
              <a:gd name="connsiteX11" fmla="*/ 0 w 2919045"/>
              <a:gd name="connsiteY11" fmla="*/ 217666 h 4560278"/>
              <a:gd name="connsiteX12" fmla="*/ 217665 w 2919045"/>
              <a:gd name="connsiteY12" fmla="*/ 1 h 4560278"/>
              <a:gd name="connsiteX13" fmla="*/ 390766 w 2919045"/>
              <a:gd name="connsiteY13" fmla="*/ 1 h 4560278"/>
              <a:gd name="connsiteX14" fmla="*/ 996460 w 2919045"/>
              <a:gd name="connsiteY14" fmla="*/ 1 h 45602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19045" h="4560278">
                <a:moveTo>
                  <a:pt x="996460" y="0"/>
                </a:moveTo>
                <a:lnTo>
                  <a:pt x="2919045" y="0"/>
                </a:lnTo>
                <a:lnTo>
                  <a:pt x="2919045" y="4560277"/>
                </a:lnTo>
                <a:lnTo>
                  <a:pt x="2590800" y="4560277"/>
                </a:lnTo>
                <a:lnTo>
                  <a:pt x="2590800" y="4560278"/>
                </a:lnTo>
                <a:lnTo>
                  <a:pt x="1789023" y="4560278"/>
                </a:lnTo>
                <a:lnTo>
                  <a:pt x="390766" y="4560278"/>
                </a:lnTo>
                <a:lnTo>
                  <a:pt x="217665" y="4560278"/>
                </a:lnTo>
                <a:cubicBezTo>
                  <a:pt x="97452" y="4560278"/>
                  <a:pt x="0" y="4462826"/>
                  <a:pt x="0" y="4342613"/>
                </a:cubicBezTo>
                <a:lnTo>
                  <a:pt x="0" y="4169512"/>
                </a:lnTo>
                <a:lnTo>
                  <a:pt x="0" y="390767"/>
                </a:lnTo>
                <a:lnTo>
                  <a:pt x="0" y="217666"/>
                </a:lnTo>
                <a:cubicBezTo>
                  <a:pt x="0" y="97453"/>
                  <a:pt x="97452" y="1"/>
                  <a:pt x="217665" y="1"/>
                </a:cubicBezTo>
                <a:lnTo>
                  <a:pt x="390766" y="1"/>
                </a:lnTo>
                <a:lnTo>
                  <a:pt x="996460" y="1"/>
                </a:lnTo>
                <a:close/>
              </a:path>
            </a:pathLst>
          </a:cu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11D6D338-E56F-B0F5-7286-6EBE82267655}"/>
              </a:ext>
            </a:extLst>
          </p:cNvPr>
          <p:cNvSpPr/>
          <p:nvPr userDrawn="1"/>
        </p:nvSpPr>
        <p:spPr bwMode="auto">
          <a:xfrm>
            <a:off x="323528" y="1214092"/>
            <a:ext cx="5686979" cy="3313303"/>
          </a:xfrm>
          <a:prstGeom prst="roundRect">
            <a:avLst>
              <a:gd name="adj" fmla="val 5908"/>
            </a:avLst>
          </a:prstGeom>
          <a:solidFill>
            <a:schemeClr val="bg1">
              <a:alpha val="10000"/>
            </a:schemeClr>
          </a:solidFill>
          <a:ln w="12700" cap="flat" cmpd="sng" algn="ctr"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24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2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7702" y="339724"/>
            <a:ext cx="5355534" cy="684213"/>
          </a:xfrm>
        </p:spPr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в 2 строки для слайда с выводами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7" name="Текст 35">
            <a:extLst>
              <a:ext uri="{FF2B5EF4-FFF2-40B4-BE49-F238E27FC236}">
                <a16:creationId xmlns:a16="http://schemas.microsoft.com/office/drawing/2014/main" id="{16CB427A-5E6A-23BE-7C0D-E6C6E7CB4B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684" y="1410465"/>
            <a:ext cx="1724400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43" name="Текст 35">
            <a:extLst>
              <a:ext uri="{FF2B5EF4-FFF2-40B4-BE49-F238E27FC236}">
                <a16:creationId xmlns:a16="http://schemas.microsoft.com/office/drawing/2014/main" id="{0D3F6312-4B6A-50E8-B909-A867018B25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51613" y="331303"/>
            <a:ext cx="1944687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журнальный вид.</a:t>
            </a:r>
            <a:endParaRPr lang="ru-RU" dirty="0"/>
          </a:p>
        </p:txBody>
      </p:sp>
      <p:sp>
        <p:nvSpPr>
          <p:cNvPr id="14" name="Текст 35">
            <a:extLst>
              <a:ext uri="{FF2B5EF4-FFF2-40B4-BE49-F238E27FC236}">
                <a16:creationId xmlns:a16="http://schemas.microsoft.com/office/drawing/2014/main" id="{7F941F6B-DBBC-B8D1-5926-D484CEB791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88318" y="1410465"/>
            <a:ext cx="1724400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  <p:sp>
        <p:nvSpPr>
          <p:cNvPr id="15" name="Текст 35">
            <a:extLst>
              <a:ext uri="{FF2B5EF4-FFF2-40B4-BE49-F238E27FC236}">
                <a16:creationId xmlns:a16="http://schemas.microsoft.com/office/drawing/2014/main" id="{AC1D4500-94B3-C8DD-A3D4-4959E35303A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39952" y="1410465"/>
            <a:ext cx="1724400" cy="769441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702773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5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4">
            <a:extLst>
              <a:ext uri="{FF2B5EF4-FFF2-40B4-BE49-F238E27FC236}">
                <a16:creationId xmlns:a16="http://schemas.microsoft.com/office/drawing/2014/main" id="{5009695A-72EA-B042-AAB1-DD086A69BD3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903305" y="-384314"/>
            <a:ext cx="4625008" cy="4900751"/>
          </a:xfrm>
          <a:prstGeom prst="roundRect">
            <a:avLst>
              <a:gd name="adj" fmla="val 3827"/>
            </a:avLst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532880F2-7B56-8284-88C9-790AFD06F3EE}"/>
              </a:ext>
            </a:extLst>
          </p:cNvPr>
          <p:cNvSpPr/>
          <p:nvPr userDrawn="1"/>
        </p:nvSpPr>
        <p:spPr bwMode="auto">
          <a:xfrm>
            <a:off x="323528" y="1594624"/>
            <a:ext cx="4426892" cy="2921814"/>
          </a:xfrm>
          <a:prstGeom prst="roundRect">
            <a:avLst>
              <a:gd name="adj" fmla="val 7845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4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7702" y="339724"/>
            <a:ext cx="4109828" cy="1157772"/>
          </a:xfrm>
        </p:spPr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 в 3 строки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для слайда с выводами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7" name="Текст 35">
            <a:extLst>
              <a:ext uri="{FF2B5EF4-FFF2-40B4-BE49-F238E27FC236}">
                <a16:creationId xmlns:a16="http://schemas.microsoft.com/office/drawing/2014/main" id="{16CB427A-5E6A-23BE-7C0D-E6C6E7CB4B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684" y="1908313"/>
            <a:ext cx="3935316" cy="461665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41806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5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F28A92C0-50CE-AA01-DA35-6CAD52C3B35F}"/>
              </a:ext>
            </a:extLst>
          </p:cNvPr>
          <p:cNvSpPr/>
          <p:nvPr userDrawn="1"/>
        </p:nvSpPr>
        <p:spPr bwMode="auto">
          <a:xfrm>
            <a:off x="4644008" y="2511236"/>
            <a:ext cx="4182036" cy="2016000"/>
          </a:xfrm>
          <a:prstGeom prst="roundRect">
            <a:avLst>
              <a:gd name="adj" fmla="val 9734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7" name="Рисунок 4">
            <a:extLst>
              <a:ext uri="{FF2B5EF4-FFF2-40B4-BE49-F238E27FC236}">
                <a16:creationId xmlns:a16="http://schemas.microsoft.com/office/drawing/2014/main" id="{11CAA3BB-E916-9897-B37D-C604E502CCD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651513" y="322729"/>
            <a:ext cx="4183199" cy="2016000"/>
          </a:xfrm>
          <a:prstGeom prst="roundRect">
            <a:avLst>
              <a:gd name="adj" fmla="val 9272"/>
            </a:avLst>
          </a:prstGeom>
        </p:spPr>
        <p:txBody>
          <a:bodyPr/>
          <a:lstStyle/>
          <a:p>
            <a:endParaRPr lang="ru-RU"/>
          </a:p>
        </p:txBody>
      </p:sp>
      <p:sp>
        <p:nvSpPr>
          <p:cNvPr id="11" name="Рисунок 4">
            <a:extLst>
              <a:ext uri="{FF2B5EF4-FFF2-40B4-BE49-F238E27FC236}">
                <a16:creationId xmlns:a16="http://schemas.microsoft.com/office/drawing/2014/main" id="{67751844-1CDF-1F74-8344-B2E5F0878AC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3528" y="2499742"/>
            <a:ext cx="4183199" cy="2016000"/>
          </a:xfrm>
          <a:prstGeom prst="roundRect">
            <a:avLst>
              <a:gd name="adj" fmla="val 9854"/>
            </a:avLst>
          </a:prstGeom>
        </p:spPr>
        <p:txBody>
          <a:bodyPr/>
          <a:lstStyle/>
          <a:p>
            <a:endParaRPr lang="ru-RU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6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7701" y="339724"/>
            <a:ext cx="3818282" cy="1157772"/>
          </a:xfrm>
        </p:spPr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 в 3 строки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для слайда с выводам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2" name="Текст 35">
            <a:extLst>
              <a:ext uri="{FF2B5EF4-FFF2-40B4-BE49-F238E27FC236}">
                <a16:creationId xmlns:a16="http://schemas.microsoft.com/office/drawing/2014/main" id="{14EE64E4-1D8A-7AC5-19EF-9C14DB9AAF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684" y="1550506"/>
            <a:ext cx="3842551" cy="646331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accent1"/>
                </a:solidFill>
              </a:defRPr>
            </a:lvl1pPr>
          </a:lstStyle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</a:p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  <p:sp>
        <p:nvSpPr>
          <p:cNvPr id="13" name="Нижний колонтитул 6">
            <a:extLst>
              <a:ext uri="{FF2B5EF4-FFF2-40B4-BE49-F238E27FC236}">
                <a16:creationId xmlns:a16="http://schemas.microsoft.com/office/drawing/2014/main" id="{0AC1C822-C5E9-72CB-E891-4582CE32A9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7700" y="4757635"/>
            <a:ext cx="5311574" cy="198551"/>
          </a:xfrm>
        </p:spPr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2" name="Текст 35">
            <a:extLst>
              <a:ext uri="{FF2B5EF4-FFF2-40B4-BE49-F238E27FC236}">
                <a16:creationId xmlns:a16="http://schemas.microsoft.com/office/drawing/2014/main" id="{DA70A57B-8820-7B2C-60C4-6D9681A17BB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6842" y="2768748"/>
            <a:ext cx="3589457" cy="461665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53056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Т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103D51A7-A089-10BB-6AB3-878FDFC8490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1072604 w 9144000"/>
              <a:gd name="connsiteY0" fmla="*/ 582669 h 5143500"/>
              <a:gd name="connsiteX1" fmla="*/ 1072584 w 9144000"/>
              <a:gd name="connsiteY1" fmla="*/ 582859 h 5143500"/>
              <a:gd name="connsiteX2" fmla="*/ 1072603 w 9144000"/>
              <a:gd name="connsiteY2" fmla="*/ 582669 h 5143500"/>
              <a:gd name="connsiteX3" fmla="*/ 1369198 w 9144000"/>
              <a:gd name="connsiteY3" fmla="*/ 492617 h 5143500"/>
              <a:gd name="connsiteX4" fmla="*/ 1398683 w 9144000"/>
              <a:gd name="connsiteY4" fmla="*/ 492617 h 5143500"/>
              <a:gd name="connsiteX5" fmla="*/ 1393955 w 9144000"/>
              <a:gd name="connsiteY5" fmla="*/ 543661 h 5143500"/>
              <a:gd name="connsiteX6" fmla="*/ 1364780 w 9144000"/>
              <a:gd name="connsiteY6" fmla="*/ 543661 h 5143500"/>
              <a:gd name="connsiteX7" fmla="*/ 1959479 w 9144000"/>
              <a:gd name="connsiteY7" fmla="*/ 399656 h 5143500"/>
              <a:gd name="connsiteX8" fmla="*/ 1988417 w 9144000"/>
              <a:gd name="connsiteY8" fmla="*/ 399981 h 5143500"/>
              <a:gd name="connsiteX9" fmla="*/ 1981589 w 9144000"/>
              <a:gd name="connsiteY9" fmla="*/ 468263 h 5143500"/>
              <a:gd name="connsiteX10" fmla="*/ 1952651 w 9144000"/>
              <a:gd name="connsiteY10" fmla="*/ 468263 h 5143500"/>
              <a:gd name="connsiteX11" fmla="*/ 1114443 w 9144000"/>
              <a:gd name="connsiteY11" fmla="*/ 362788 h 5143500"/>
              <a:gd name="connsiteX12" fmla="*/ 1114210 w 9144000"/>
              <a:gd name="connsiteY12" fmla="*/ 365089 h 5143500"/>
              <a:gd name="connsiteX13" fmla="*/ 1114210 w 9144000"/>
              <a:gd name="connsiteY13" fmla="*/ 365088 h 5143500"/>
              <a:gd name="connsiteX14" fmla="*/ 976557 w 9144000"/>
              <a:gd name="connsiteY14" fmla="*/ 336310 h 5143500"/>
              <a:gd name="connsiteX15" fmla="*/ 952100 w 9144000"/>
              <a:gd name="connsiteY15" fmla="*/ 608940 h 5143500"/>
              <a:gd name="connsiteX16" fmla="*/ 986960 w 9144000"/>
              <a:gd name="connsiteY16" fmla="*/ 608940 h 5143500"/>
              <a:gd name="connsiteX17" fmla="*/ 1040642 w 9144000"/>
              <a:gd name="connsiteY17" fmla="*/ 608940 h 5143500"/>
              <a:gd name="connsiteX18" fmla="*/ 1044511 w 9144000"/>
              <a:gd name="connsiteY18" fmla="*/ 608940 h 5143500"/>
              <a:gd name="connsiteX19" fmla="*/ 1044511 w 9144000"/>
              <a:gd name="connsiteY19" fmla="*/ 608550 h 5143500"/>
              <a:gd name="connsiteX20" fmla="*/ 1047212 w 9144000"/>
              <a:gd name="connsiteY20" fmla="*/ 608278 h 5143500"/>
              <a:gd name="connsiteX21" fmla="*/ 1063693 w 9144000"/>
              <a:gd name="connsiteY21" fmla="*/ 599393 h 5143500"/>
              <a:gd name="connsiteX22" fmla="*/ 1069616 w 9144000"/>
              <a:gd name="connsiteY22" fmla="*/ 590607 h 5143500"/>
              <a:gd name="connsiteX23" fmla="*/ 1070680 w 9144000"/>
              <a:gd name="connsiteY23" fmla="*/ 589030 h 5143500"/>
              <a:gd name="connsiteX24" fmla="*/ 1072579 w 9144000"/>
              <a:gd name="connsiteY24" fmla="*/ 582912 h 5143500"/>
              <a:gd name="connsiteX25" fmla="*/ 1072584 w 9144000"/>
              <a:gd name="connsiteY25" fmla="*/ 582859 h 5143500"/>
              <a:gd name="connsiteX26" fmla="*/ 1109730 w 9144000"/>
              <a:gd name="connsiteY26" fmla="*/ 485878 h 5143500"/>
              <a:gd name="connsiteX27" fmla="*/ 1097365 w 9144000"/>
              <a:gd name="connsiteY27" fmla="*/ 608940 h 5143500"/>
              <a:gd name="connsiteX28" fmla="*/ 1213696 w 9144000"/>
              <a:gd name="connsiteY28" fmla="*/ 608940 h 5143500"/>
              <a:gd name="connsiteX29" fmla="*/ 1238154 w 9144000"/>
              <a:gd name="connsiteY29" fmla="*/ 336310 h 5143500"/>
              <a:gd name="connsiteX30" fmla="*/ 1205981 w 9144000"/>
              <a:gd name="connsiteY30" fmla="*/ 336310 h 5143500"/>
              <a:gd name="connsiteX31" fmla="*/ 1146424 w 9144000"/>
              <a:gd name="connsiteY31" fmla="*/ 336310 h 5143500"/>
              <a:gd name="connsiteX32" fmla="*/ 1142381 w 9144000"/>
              <a:gd name="connsiteY32" fmla="*/ 336310 h 5143500"/>
              <a:gd name="connsiteX33" fmla="*/ 1142381 w 9144000"/>
              <a:gd name="connsiteY33" fmla="*/ 336717 h 5143500"/>
              <a:gd name="connsiteX34" fmla="*/ 1139854 w 9144000"/>
              <a:gd name="connsiteY34" fmla="*/ 336972 h 5143500"/>
              <a:gd name="connsiteX35" fmla="*/ 1123374 w 9144000"/>
              <a:gd name="connsiteY35" fmla="*/ 345858 h 5143500"/>
              <a:gd name="connsiteX36" fmla="*/ 1116745 w 9144000"/>
              <a:gd name="connsiteY36" fmla="*/ 355689 h 5143500"/>
              <a:gd name="connsiteX37" fmla="*/ 1116388 w 9144000"/>
              <a:gd name="connsiteY37" fmla="*/ 356220 h 5143500"/>
              <a:gd name="connsiteX38" fmla="*/ 1114488 w 9144000"/>
              <a:gd name="connsiteY38" fmla="*/ 362339 h 5143500"/>
              <a:gd name="connsiteX39" fmla="*/ 1114443 w 9144000"/>
              <a:gd name="connsiteY39" fmla="*/ 362788 h 5143500"/>
              <a:gd name="connsiteX40" fmla="*/ 1077630 w 9144000"/>
              <a:gd name="connsiteY40" fmla="*/ 476280 h 5143500"/>
              <a:gd name="connsiteX41" fmla="*/ 1092415 w 9144000"/>
              <a:gd name="connsiteY41" fmla="*/ 336310 h 5143500"/>
              <a:gd name="connsiteX42" fmla="*/ 715068 w 9144000"/>
              <a:gd name="connsiteY42" fmla="*/ 336310 h 5143500"/>
              <a:gd name="connsiteX43" fmla="*/ 685031 w 9144000"/>
              <a:gd name="connsiteY43" fmla="*/ 356220 h 5143500"/>
              <a:gd name="connsiteX44" fmla="*/ 683600 w 9144000"/>
              <a:gd name="connsiteY44" fmla="*/ 360829 h 5143500"/>
              <a:gd name="connsiteX45" fmla="*/ 682668 w 9144000"/>
              <a:gd name="connsiteY45" fmla="*/ 370886 h 5143500"/>
              <a:gd name="connsiteX46" fmla="*/ 682669 w 9144000"/>
              <a:gd name="connsiteY46" fmla="*/ 370887 h 5143500"/>
              <a:gd name="connsiteX47" fmla="*/ 663648 w 9144000"/>
              <a:gd name="connsiteY47" fmla="*/ 576234 h 5143500"/>
              <a:gd name="connsiteX48" fmla="*/ 663574 w 9144000"/>
              <a:gd name="connsiteY48" fmla="*/ 577024 h 5143500"/>
              <a:gd name="connsiteX49" fmla="*/ 664233 w 9144000"/>
              <a:gd name="connsiteY49" fmla="*/ 583561 h 5143500"/>
              <a:gd name="connsiteX50" fmla="*/ 689600 w 9144000"/>
              <a:gd name="connsiteY50" fmla="*/ 608928 h 5143500"/>
              <a:gd name="connsiteX51" fmla="*/ 689718 w 9144000"/>
              <a:gd name="connsiteY51" fmla="*/ 608940 h 5143500"/>
              <a:gd name="connsiteX52" fmla="*/ 702621 w 9144000"/>
              <a:gd name="connsiteY52" fmla="*/ 608940 h 5143500"/>
              <a:gd name="connsiteX53" fmla="*/ 887067 w 9144000"/>
              <a:gd name="connsiteY53" fmla="*/ 608940 h 5143500"/>
              <a:gd name="connsiteX54" fmla="*/ 887068 w 9144000"/>
              <a:gd name="connsiteY54" fmla="*/ 608940 h 5143500"/>
              <a:gd name="connsiteX55" fmla="*/ 899969 w 9144000"/>
              <a:gd name="connsiteY55" fmla="*/ 608940 h 5143500"/>
              <a:gd name="connsiteX56" fmla="*/ 900089 w 9144000"/>
              <a:gd name="connsiteY56" fmla="*/ 608928 h 5143500"/>
              <a:gd name="connsiteX57" fmla="*/ 923555 w 9144000"/>
              <a:gd name="connsiteY57" fmla="*/ 589681 h 5143500"/>
              <a:gd name="connsiteX58" fmla="*/ 924532 w 9144000"/>
              <a:gd name="connsiteY58" fmla="*/ 586533 h 5143500"/>
              <a:gd name="connsiteX59" fmla="*/ 925519 w 9144000"/>
              <a:gd name="connsiteY59" fmla="*/ 575886 h 5143500"/>
              <a:gd name="connsiteX60" fmla="*/ 925831 w 9144000"/>
              <a:gd name="connsiteY60" fmla="*/ 575886 h 5143500"/>
              <a:gd name="connsiteX61" fmla="*/ 925831 w 9144000"/>
              <a:gd name="connsiteY61" fmla="*/ 572515 h 5143500"/>
              <a:gd name="connsiteX62" fmla="*/ 933801 w 9144000"/>
              <a:gd name="connsiteY62" fmla="*/ 486470 h 5143500"/>
              <a:gd name="connsiteX63" fmla="*/ 817697 w 9144000"/>
              <a:gd name="connsiteY63" fmla="*/ 486470 h 5143500"/>
              <a:gd name="connsiteX64" fmla="*/ 812399 w 9144000"/>
              <a:gd name="connsiteY64" fmla="*/ 543661 h 5143500"/>
              <a:gd name="connsiteX65" fmla="*/ 782356 w 9144000"/>
              <a:gd name="connsiteY65" fmla="*/ 543661 h 5143500"/>
              <a:gd name="connsiteX66" fmla="*/ 795564 w 9144000"/>
              <a:gd name="connsiteY66" fmla="*/ 401073 h 5143500"/>
              <a:gd name="connsiteX67" fmla="*/ 825607 w 9144000"/>
              <a:gd name="connsiteY67" fmla="*/ 401073 h 5143500"/>
              <a:gd name="connsiteX68" fmla="*/ 820739 w 9144000"/>
              <a:gd name="connsiteY68" fmla="*/ 453631 h 5143500"/>
              <a:gd name="connsiteX69" fmla="*/ 936843 w 9144000"/>
              <a:gd name="connsiteY69" fmla="*/ 453631 h 5143500"/>
              <a:gd name="connsiteX70" fmla="*/ 943979 w 9144000"/>
              <a:gd name="connsiteY70" fmla="*/ 376599 h 5143500"/>
              <a:gd name="connsiteX71" fmla="*/ 944919 w 9144000"/>
              <a:gd name="connsiteY71" fmla="*/ 366447 h 5143500"/>
              <a:gd name="connsiteX72" fmla="*/ 944462 w 9144000"/>
              <a:gd name="connsiteY72" fmla="*/ 361905 h 5143500"/>
              <a:gd name="connsiteX73" fmla="*/ 919095 w 9144000"/>
              <a:gd name="connsiteY73" fmla="*/ 336538 h 5143500"/>
              <a:gd name="connsiteX74" fmla="*/ 916825 w 9144000"/>
              <a:gd name="connsiteY74" fmla="*/ 336310 h 5143500"/>
              <a:gd name="connsiteX75" fmla="*/ 908224 w 9144000"/>
              <a:gd name="connsiteY75" fmla="*/ 336310 h 5143500"/>
              <a:gd name="connsiteX76" fmla="*/ 1818985 w 9144000"/>
              <a:gd name="connsiteY76" fmla="*/ 336280 h 5143500"/>
              <a:gd name="connsiteX77" fmla="*/ 1703832 w 9144000"/>
              <a:gd name="connsiteY77" fmla="*/ 336294 h 5143500"/>
              <a:gd name="connsiteX78" fmla="*/ 1692459 w 9144000"/>
              <a:gd name="connsiteY78" fmla="*/ 460889 h 5143500"/>
              <a:gd name="connsiteX79" fmla="*/ 1663495 w 9144000"/>
              <a:gd name="connsiteY79" fmla="*/ 460456 h 5143500"/>
              <a:gd name="connsiteX80" fmla="*/ 1674348 w 9144000"/>
              <a:gd name="connsiteY80" fmla="*/ 336296 h 5143500"/>
              <a:gd name="connsiteX81" fmla="*/ 1557673 w 9144000"/>
              <a:gd name="connsiteY81" fmla="*/ 336310 h 5143500"/>
              <a:gd name="connsiteX82" fmla="*/ 1545183 w 9144000"/>
              <a:gd name="connsiteY82" fmla="*/ 477578 h 5143500"/>
              <a:gd name="connsiteX83" fmla="*/ 1544330 w 9144000"/>
              <a:gd name="connsiteY83" fmla="*/ 487217 h 5143500"/>
              <a:gd name="connsiteX84" fmla="*/ 1544805 w 9144000"/>
              <a:gd name="connsiteY84" fmla="*/ 491932 h 5143500"/>
              <a:gd name="connsiteX85" fmla="*/ 1564053 w 9144000"/>
              <a:gd name="connsiteY85" fmla="*/ 515399 h 5143500"/>
              <a:gd name="connsiteX86" fmla="*/ 1569502 w 9144000"/>
              <a:gd name="connsiteY86" fmla="*/ 517091 h 5143500"/>
              <a:gd name="connsiteX87" fmla="*/ 1583887 w 9144000"/>
              <a:gd name="connsiteY87" fmla="*/ 517120 h 5143500"/>
              <a:gd name="connsiteX88" fmla="*/ 1686932 w 9144000"/>
              <a:gd name="connsiteY88" fmla="*/ 517328 h 5143500"/>
              <a:gd name="connsiteX89" fmla="*/ 1684804 w 9144000"/>
              <a:gd name="connsiteY89" fmla="*/ 544527 h 5143500"/>
              <a:gd name="connsiteX90" fmla="*/ 1539278 w 9144000"/>
              <a:gd name="connsiteY90" fmla="*/ 544347 h 5143500"/>
              <a:gd name="connsiteX91" fmla="*/ 1533567 w 9144000"/>
              <a:gd name="connsiteY91" fmla="*/ 608940 h 5143500"/>
              <a:gd name="connsiteX92" fmla="*/ 1759039 w 9144000"/>
              <a:gd name="connsiteY92" fmla="*/ 608940 h 5143500"/>
              <a:gd name="connsiteX93" fmla="*/ 1759040 w 9144000"/>
              <a:gd name="connsiteY93" fmla="*/ 608940 h 5143500"/>
              <a:gd name="connsiteX94" fmla="*/ 1771942 w 9144000"/>
              <a:gd name="connsiteY94" fmla="*/ 608940 h 5143500"/>
              <a:gd name="connsiteX95" fmla="*/ 1772060 w 9144000"/>
              <a:gd name="connsiteY95" fmla="*/ 608928 h 5143500"/>
              <a:gd name="connsiteX96" fmla="*/ 1795528 w 9144000"/>
              <a:gd name="connsiteY96" fmla="*/ 589681 h 5143500"/>
              <a:gd name="connsiteX97" fmla="*/ 1796504 w 9144000"/>
              <a:gd name="connsiteY97" fmla="*/ 586533 h 5143500"/>
              <a:gd name="connsiteX98" fmla="*/ 1797490 w 9144000"/>
              <a:gd name="connsiteY98" fmla="*/ 575886 h 5143500"/>
              <a:gd name="connsiteX99" fmla="*/ 1797803 w 9144000"/>
              <a:gd name="connsiteY99" fmla="*/ 575886 h 5143500"/>
              <a:gd name="connsiteX100" fmla="*/ 1797803 w 9144000"/>
              <a:gd name="connsiteY100" fmla="*/ 572515 h 5143500"/>
              <a:gd name="connsiteX101" fmla="*/ 1528570 w 9144000"/>
              <a:gd name="connsiteY101" fmla="*/ 336280 h 5143500"/>
              <a:gd name="connsiteX102" fmla="*/ 1267258 w 9144000"/>
              <a:gd name="connsiteY102" fmla="*/ 336310 h 5143500"/>
              <a:gd name="connsiteX103" fmla="*/ 1243152 w 9144000"/>
              <a:gd name="connsiteY103" fmla="*/ 608940 h 5143500"/>
              <a:gd name="connsiteX104" fmla="*/ 1468623 w 9144000"/>
              <a:gd name="connsiteY104" fmla="*/ 608940 h 5143500"/>
              <a:gd name="connsiteX105" fmla="*/ 1468624 w 9144000"/>
              <a:gd name="connsiteY105" fmla="*/ 608940 h 5143500"/>
              <a:gd name="connsiteX106" fmla="*/ 1481527 w 9144000"/>
              <a:gd name="connsiteY106" fmla="*/ 608940 h 5143500"/>
              <a:gd name="connsiteX107" fmla="*/ 1481645 w 9144000"/>
              <a:gd name="connsiteY107" fmla="*/ 608928 h 5143500"/>
              <a:gd name="connsiteX108" fmla="*/ 1505112 w 9144000"/>
              <a:gd name="connsiteY108" fmla="*/ 589681 h 5143500"/>
              <a:gd name="connsiteX109" fmla="*/ 1506089 w 9144000"/>
              <a:gd name="connsiteY109" fmla="*/ 586533 h 5143500"/>
              <a:gd name="connsiteX110" fmla="*/ 1507075 w 9144000"/>
              <a:gd name="connsiteY110" fmla="*/ 575886 h 5143500"/>
              <a:gd name="connsiteX111" fmla="*/ 1507387 w 9144000"/>
              <a:gd name="connsiteY111" fmla="*/ 575886 h 5143500"/>
              <a:gd name="connsiteX112" fmla="*/ 1507387 w 9144000"/>
              <a:gd name="connsiteY112" fmla="*/ 572515 h 5143500"/>
              <a:gd name="connsiteX113" fmla="*/ 1513926 w 9144000"/>
              <a:gd name="connsiteY113" fmla="*/ 501930 h 5143500"/>
              <a:gd name="connsiteX114" fmla="*/ 1514182 w 9144000"/>
              <a:gd name="connsiteY114" fmla="*/ 501930 h 5143500"/>
              <a:gd name="connsiteX115" fmla="*/ 1517312 w 9144000"/>
              <a:gd name="connsiteY115" fmla="*/ 468143 h 5143500"/>
              <a:gd name="connsiteX116" fmla="*/ 1518253 w 9144000"/>
              <a:gd name="connsiteY116" fmla="*/ 457991 h 5143500"/>
              <a:gd name="connsiteX117" fmla="*/ 1517795 w 9144000"/>
              <a:gd name="connsiteY117" fmla="*/ 453449 h 5143500"/>
              <a:gd name="connsiteX118" fmla="*/ 1492428 w 9144000"/>
              <a:gd name="connsiteY118" fmla="*/ 428082 h 5143500"/>
              <a:gd name="connsiteX119" fmla="*/ 1490159 w 9144000"/>
              <a:gd name="connsiteY119" fmla="*/ 427853 h 5143500"/>
              <a:gd name="connsiteX120" fmla="*/ 1481557 w 9144000"/>
              <a:gd name="connsiteY120" fmla="*/ 427853 h 5143500"/>
              <a:gd name="connsiteX121" fmla="*/ 1374802 w 9144000"/>
              <a:gd name="connsiteY121" fmla="*/ 427853 h 5143500"/>
              <a:gd name="connsiteX122" fmla="*/ 1377120 w 9144000"/>
              <a:gd name="connsiteY122" fmla="*/ 401073 h 5143500"/>
              <a:gd name="connsiteX123" fmla="*/ 1523169 w 9144000"/>
              <a:gd name="connsiteY123" fmla="*/ 400740 h 5143500"/>
              <a:gd name="connsiteX124" fmla="*/ 1848535 w 9144000"/>
              <a:gd name="connsiteY124" fmla="*/ 335659 h 5143500"/>
              <a:gd name="connsiteX125" fmla="*/ 1832109 w 9144000"/>
              <a:gd name="connsiteY125" fmla="*/ 524134 h 5143500"/>
              <a:gd name="connsiteX126" fmla="*/ 1824724 w 9144000"/>
              <a:gd name="connsiteY126" fmla="*/ 608874 h 5143500"/>
              <a:gd name="connsiteX127" fmla="*/ 1940556 w 9144000"/>
              <a:gd name="connsiteY127" fmla="*/ 608940 h 5143500"/>
              <a:gd name="connsiteX128" fmla="*/ 1947847 w 9144000"/>
              <a:gd name="connsiteY128" fmla="*/ 524134 h 5143500"/>
              <a:gd name="connsiteX129" fmla="*/ 2057502 w 9144000"/>
              <a:gd name="connsiteY129" fmla="*/ 524134 h 5143500"/>
              <a:gd name="connsiteX130" fmla="*/ 2057503 w 9144000"/>
              <a:gd name="connsiteY130" fmla="*/ 524134 h 5143500"/>
              <a:gd name="connsiteX131" fmla="*/ 2070416 w 9144000"/>
              <a:gd name="connsiteY131" fmla="*/ 524134 h 5143500"/>
              <a:gd name="connsiteX132" fmla="*/ 2070534 w 9144000"/>
              <a:gd name="connsiteY132" fmla="*/ 524121 h 5143500"/>
              <a:gd name="connsiteX133" fmla="*/ 2094022 w 9144000"/>
              <a:gd name="connsiteY133" fmla="*/ 504174 h 5143500"/>
              <a:gd name="connsiteX134" fmla="*/ 2095000 w 9144000"/>
              <a:gd name="connsiteY134" fmla="*/ 500912 h 5143500"/>
              <a:gd name="connsiteX135" fmla="*/ 2095987 w 9144000"/>
              <a:gd name="connsiteY135" fmla="*/ 489878 h 5143500"/>
              <a:gd name="connsiteX136" fmla="*/ 2096299 w 9144000"/>
              <a:gd name="connsiteY136" fmla="*/ 489878 h 5143500"/>
              <a:gd name="connsiteX137" fmla="*/ 2096299 w 9144000"/>
              <a:gd name="connsiteY137" fmla="*/ 486384 h 5143500"/>
              <a:gd name="connsiteX138" fmla="*/ 2102845 w 9144000"/>
              <a:gd name="connsiteY138" fmla="*/ 413232 h 5143500"/>
              <a:gd name="connsiteX139" fmla="*/ 2103101 w 9144000"/>
              <a:gd name="connsiteY139" fmla="*/ 413232 h 5143500"/>
              <a:gd name="connsiteX140" fmla="*/ 2104495 w 9144000"/>
              <a:gd name="connsiteY140" fmla="*/ 397641 h 5143500"/>
              <a:gd name="connsiteX141" fmla="*/ 2104496 w 9144000"/>
              <a:gd name="connsiteY141" fmla="*/ 397641 h 5143500"/>
              <a:gd name="connsiteX142" fmla="*/ 2106233 w 9144000"/>
              <a:gd name="connsiteY142" fmla="*/ 378216 h 5143500"/>
              <a:gd name="connsiteX143" fmla="*/ 2107174 w 9144000"/>
              <a:gd name="connsiteY143" fmla="*/ 367696 h 5143500"/>
              <a:gd name="connsiteX144" fmla="*/ 2106716 w 9144000"/>
              <a:gd name="connsiteY144" fmla="*/ 362989 h 5143500"/>
              <a:gd name="connsiteX145" fmla="*/ 2081327 w 9144000"/>
              <a:gd name="connsiteY145" fmla="*/ 336700 h 5143500"/>
              <a:gd name="connsiteX146" fmla="*/ 2079056 w 9144000"/>
              <a:gd name="connsiteY146" fmla="*/ 336462 h 5143500"/>
              <a:gd name="connsiteX147" fmla="*/ 2070447 w 9144000"/>
              <a:gd name="connsiteY147" fmla="*/ 336462 h 5143500"/>
              <a:gd name="connsiteX148" fmla="*/ 1963600 w 9144000"/>
              <a:gd name="connsiteY148" fmla="*/ 336462 h 5143500"/>
              <a:gd name="connsiteX149" fmla="*/ 1963666 w 9144000"/>
              <a:gd name="connsiteY149" fmla="*/ 335659 h 5143500"/>
              <a:gd name="connsiteX150" fmla="*/ 0 w 9144000"/>
              <a:gd name="connsiteY150" fmla="*/ 0 h 5143500"/>
              <a:gd name="connsiteX151" fmla="*/ 9144000 w 9144000"/>
              <a:gd name="connsiteY151" fmla="*/ 0 h 5143500"/>
              <a:gd name="connsiteX152" fmla="*/ 9144000 w 9144000"/>
              <a:gd name="connsiteY152" fmla="*/ 5143500 h 5143500"/>
              <a:gd name="connsiteX153" fmla="*/ 0 w 9144000"/>
              <a:gd name="connsiteY15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9144000" h="5143500">
                <a:moveTo>
                  <a:pt x="1072604" y="582669"/>
                </a:moveTo>
                <a:lnTo>
                  <a:pt x="1072584" y="582859"/>
                </a:lnTo>
                <a:lnTo>
                  <a:pt x="1072603" y="582669"/>
                </a:lnTo>
                <a:close/>
                <a:moveTo>
                  <a:pt x="1369198" y="492617"/>
                </a:moveTo>
                <a:lnTo>
                  <a:pt x="1398683" y="492617"/>
                </a:lnTo>
                <a:lnTo>
                  <a:pt x="1393955" y="543661"/>
                </a:lnTo>
                <a:lnTo>
                  <a:pt x="1364780" y="543661"/>
                </a:lnTo>
                <a:close/>
                <a:moveTo>
                  <a:pt x="1959479" y="399656"/>
                </a:moveTo>
                <a:lnTo>
                  <a:pt x="1988417" y="399981"/>
                </a:lnTo>
                <a:lnTo>
                  <a:pt x="1981589" y="468263"/>
                </a:lnTo>
                <a:lnTo>
                  <a:pt x="1952651" y="468263"/>
                </a:lnTo>
                <a:close/>
                <a:moveTo>
                  <a:pt x="1114443" y="362788"/>
                </a:moveTo>
                <a:lnTo>
                  <a:pt x="1114210" y="365089"/>
                </a:lnTo>
                <a:lnTo>
                  <a:pt x="1114210" y="365088"/>
                </a:lnTo>
                <a:close/>
                <a:moveTo>
                  <a:pt x="976557" y="336310"/>
                </a:moveTo>
                <a:lnTo>
                  <a:pt x="952100" y="608940"/>
                </a:lnTo>
                <a:lnTo>
                  <a:pt x="986960" y="608940"/>
                </a:lnTo>
                <a:lnTo>
                  <a:pt x="1040642" y="608940"/>
                </a:lnTo>
                <a:lnTo>
                  <a:pt x="1044511" y="608940"/>
                </a:lnTo>
                <a:lnTo>
                  <a:pt x="1044511" y="608550"/>
                </a:lnTo>
                <a:lnTo>
                  <a:pt x="1047212" y="608278"/>
                </a:lnTo>
                <a:cubicBezTo>
                  <a:pt x="1053578" y="606976"/>
                  <a:pt x="1059268" y="603817"/>
                  <a:pt x="1063693" y="599393"/>
                </a:cubicBezTo>
                <a:lnTo>
                  <a:pt x="1069616" y="590607"/>
                </a:lnTo>
                <a:lnTo>
                  <a:pt x="1070680" y="589030"/>
                </a:lnTo>
                <a:cubicBezTo>
                  <a:pt x="1071504" y="587080"/>
                  <a:pt x="1072145" y="585034"/>
                  <a:pt x="1072579" y="582912"/>
                </a:cubicBezTo>
                <a:lnTo>
                  <a:pt x="1072584" y="582859"/>
                </a:lnTo>
                <a:lnTo>
                  <a:pt x="1109730" y="485878"/>
                </a:lnTo>
                <a:lnTo>
                  <a:pt x="1097365" y="608940"/>
                </a:lnTo>
                <a:lnTo>
                  <a:pt x="1213696" y="608940"/>
                </a:lnTo>
                <a:lnTo>
                  <a:pt x="1238154" y="336310"/>
                </a:lnTo>
                <a:lnTo>
                  <a:pt x="1205981" y="336310"/>
                </a:lnTo>
                <a:lnTo>
                  <a:pt x="1146424" y="336310"/>
                </a:lnTo>
                <a:lnTo>
                  <a:pt x="1142381" y="336310"/>
                </a:lnTo>
                <a:lnTo>
                  <a:pt x="1142381" y="336717"/>
                </a:lnTo>
                <a:lnTo>
                  <a:pt x="1139854" y="336972"/>
                </a:lnTo>
                <a:cubicBezTo>
                  <a:pt x="1133488" y="338275"/>
                  <a:pt x="1127798" y="341434"/>
                  <a:pt x="1123374" y="345858"/>
                </a:cubicBezTo>
                <a:lnTo>
                  <a:pt x="1116745" y="355689"/>
                </a:lnTo>
                <a:lnTo>
                  <a:pt x="1116388" y="356220"/>
                </a:lnTo>
                <a:cubicBezTo>
                  <a:pt x="1115562" y="358170"/>
                  <a:pt x="1114922" y="360217"/>
                  <a:pt x="1114488" y="362339"/>
                </a:cubicBezTo>
                <a:lnTo>
                  <a:pt x="1114443" y="362788"/>
                </a:lnTo>
                <a:lnTo>
                  <a:pt x="1077630" y="476280"/>
                </a:lnTo>
                <a:lnTo>
                  <a:pt x="1092415" y="336310"/>
                </a:lnTo>
                <a:close/>
                <a:moveTo>
                  <a:pt x="715068" y="336310"/>
                </a:moveTo>
                <a:cubicBezTo>
                  <a:pt x="701565" y="336310"/>
                  <a:pt x="689980" y="344520"/>
                  <a:pt x="685031" y="356220"/>
                </a:cubicBezTo>
                <a:lnTo>
                  <a:pt x="683600" y="360829"/>
                </a:lnTo>
                <a:lnTo>
                  <a:pt x="682668" y="370886"/>
                </a:lnTo>
                <a:cubicBezTo>
                  <a:pt x="682668" y="370887"/>
                  <a:pt x="682669" y="370887"/>
                  <a:pt x="682669" y="370887"/>
                </a:cubicBezTo>
                <a:lnTo>
                  <a:pt x="663648" y="576234"/>
                </a:lnTo>
                <a:lnTo>
                  <a:pt x="663574" y="577024"/>
                </a:lnTo>
                <a:lnTo>
                  <a:pt x="664233" y="583561"/>
                </a:lnTo>
                <a:cubicBezTo>
                  <a:pt x="666839" y="596294"/>
                  <a:pt x="676867" y="606322"/>
                  <a:pt x="689600" y="608928"/>
                </a:cubicBezTo>
                <a:lnTo>
                  <a:pt x="689718" y="608940"/>
                </a:lnTo>
                <a:lnTo>
                  <a:pt x="702621" y="608940"/>
                </a:lnTo>
                <a:lnTo>
                  <a:pt x="887067" y="608940"/>
                </a:lnTo>
                <a:lnTo>
                  <a:pt x="887068" y="608940"/>
                </a:lnTo>
                <a:lnTo>
                  <a:pt x="899969" y="608940"/>
                </a:lnTo>
                <a:lnTo>
                  <a:pt x="900089" y="608928"/>
                </a:lnTo>
                <a:cubicBezTo>
                  <a:pt x="910699" y="606757"/>
                  <a:pt x="919431" y="599431"/>
                  <a:pt x="923555" y="589681"/>
                </a:cubicBezTo>
                <a:lnTo>
                  <a:pt x="924532" y="586533"/>
                </a:lnTo>
                <a:lnTo>
                  <a:pt x="925519" y="575886"/>
                </a:lnTo>
                <a:lnTo>
                  <a:pt x="925831" y="575886"/>
                </a:lnTo>
                <a:lnTo>
                  <a:pt x="925831" y="572515"/>
                </a:lnTo>
                <a:lnTo>
                  <a:pt x="933801" y="486470"/>
                </a:lnTo>
                <a:lnTo>
                  <a:pt x="817697" y="486470"/>
                </a:lnTo>
                <a:lnTo>
                  <a:pt x="812399" y="543661"/>
                </a:lnTo>
                <a:lnTo>
                  <a:pt x="782356" y="543661"/>
                </a:lnTo>
                <a:lnTo>
                  <a:pt x="795564" y="401073"/>
                </a:lnTo>
                <a:lnTo>
                  <a:pt x="825607" y="401073"/>
                </a:lnTo>
                <a:lnTo>
                  <a:pt x="820739" y="453631"/>
                </a:lnTo>
                <a:lnTo>
                  <a:pt x="936843" y="453631"/>
                </a:lnTo>
                <a:lnTo>
                  <a:pt x="943979" y="376599"/>
                </a:lnTo>
                <a:lnTo>
                  <a:pt x="944919" y="366447"/>
                </a:lnTo>
                <a:lnTo>
                  <a:pt x="944462" y="361905"/>
                </a:lnTo>
                <a:cubicBezTo>
                  <a:pt x="941856" y="349173"/>
                  <a:pt x="931827" y="339144"/>
                  <a:pt x="919095" y="336538"/>
                </a:cubicBezTo>
                <a:lnTo>
                  <a:pt x="916825" y="336310"/>
                </a:lnTo>
                <a:lnTo>
                  <a:pt x="908224" y="336310"/>
                </a:lnTo>
                <a:close/>
                <a:moveTo>
                  <a:pt x="1818985" y="336280"/>
                </a:moveTo>
                <a:lnTo>
                  <a:pt x="1703832" y="336294"/>
                </a:lnTo>
                <a:lnTo>
                  <a:pt x="1692459" y="460889"/>
                </a:lnTo>
                <a:lnTo>
                  <a:pt x="1663495" y="460456"/>
                </a:lnTo>
                <a:lnTo>
                  <a:pt x="1674348" y="336296"/>
                </a:lnTo>
                <a:lnTo>
                  <a:pt x="1557673" y="336310"/>
                </a:lnTo>
                <a:lnTo>
                  <a:pt x="1545183" y="477578"/>
                </a:lnTo>
                <a:lnTo>
                  <a:pt x="1544330" y="487217"/>
                </a:lnTo>
                <a:lnTo>
                  <a:pt x="1544805" y="491932"/>
                </a:lnTo>
                <a:cubicBezTo>
                  <a:pt x="1546977" y="502542"/>
                  <a:pt x="1554303" y="511275"/>
                  <a:pt x="1564053" y="515399"/>
                </a:cubicBezTo>
                <a:lnTo>
                  <a:pt x="1569502" y="517091"/>
                </a:lnTo>
                <a:lnTo>
                  <a:pt x="1583887" y="517120"/>
                </a:lnTo>
                <a:lnTo>
                  <a:pt x="1686932" y="517328"/>
                </a:lnTo>
                <a:lnTo>
                  <a:pt x="1684804" y="544527"/>
                </a:lnTo>
                <a:lnTo>
                  <a:pt x="1539278" y="544347"/>
                </a:lnTo>
                <a:lnTo>
                  <a:pt x="1533567" y="608940"/>
                </a:lnTo>
                <a:lnTo>
                  <a:pt x="1759039" y="608940"/>
                </a:lnTo>
                <a:lnTo>
                  <a:pt x="1759040" y="608940"/>
                </a:lnTo>
                <a:lnTo>
                  <a:pt x="1771942" y="608940"/>
                </a:lnTo>
                <a:lnTo>
                  <a:pt x="1772060" y="608928"/>
                </a:lnTo>
                <a:cubicBezTo>
                  <a:pt x="1782671" y="606757"/>
                  <a:pt x="1791403" y="599431"/>
                  <a:pt x="1795528" y="589681"/>
                </a:cubicBezTo>
                <a:lnTo>
                  <a:pt x="1796504" y="586533"/>
                </a:lnTo>
                <a:lnTo>
                  <a:pt x="1797490" y="575886"/>
                </a:lnTo>
                <a:lnTo>
                  <a:pt x="1797803" y="575886"/>
                </a:lnTo>
                <a:lnTo>
                  <a:pt x="1797803" y="572515"/>
                </a:lnTo>
                <a:close/>
                <a:moveTo>
                  <a:pt x="1528570" y="336280"/>
                </a:moveTo>
                <a:lnTo>
                  <a:pt x="1267258" y="336310"/>
                </a:lnTo>
                <a:lnTo>
                  <a:pt x="1243152" y="608940"/>
                </a:lnTo>
                <a:lnTo>
                  <a:pt x="1468623" y="608940"/>
                </a:lnTo>
                <a:lnTo>
                  <a:pt x="1468624" y="608940"/>
                </a:lnTo>
                <a:lnTo>
                  <a:pt x="1481527" y="608940"/>
                </a:lnTo>
                <a:lnTo>
                  <a:pt x="1481645" y="608928"/>
                </a:lnTo>
                <a:cubicBezTo>
                  <a:pt x="1492255" y="606757"/>
                  <a:pt x="1500988" y="599431"/>
                  <a:pt x="1505112" y="589681"/>
                </a:cubicBezTo>
                <a:lnTo>
                  <a:pt x="1506089" y="586533"/>
                </a:lnTo>
                <a:lnTo>
                  <a:pt x="1507075" y="575886"/>
                </a:lnTo>
                <a:lnTo>
                  <a:pt x="1507387" y="575886"/>
                </a:lnTo>
                <a:lnTo>
                  <a:pt x="1507387" y="572515"/>
                </a:lnTo>
                <a:lnTo>
                  <a:pt x="1513926" y="501930"/>
                </a:lnTo>
                <a:lnTo>
                  <a:pt x="1514182" y="501930"/>
                </a:lnTo>
                <a:lnTo>
                  <a:pt x="1517312" y="468143"/>
                </a:lnTo>
                <a:lnTo>
                  <a:pt x="1518253" y="457991"/>
                </a:lnTo>
                <a:lnTo>
                  <a:pt x="1517795" y="453449"/>
                </a:lnTo>
                <a:cubicBezTo>
                  <a:pt x="1515189" y="440716"/>
                  <a:pt x="1505161" y="430688"/>
                  <a:pt x="1492428" y="428082"/>
                </a:cubicBezTo>
                <a:lnTo>
                  <a:pt x="1490159" y="427853"/>
                </a:lnTo>
                <a:lnTo>
                  <a:pt x="1481557" y="427853"/>
                </a:lnTo>
                <a:lnTo>
                  <a:pt x="1374802" y="427853"/>
                </a:lnTo>
                <a:lnTo>
                  <a:pt x="1377120" y="401073"/>
                </a:lnTo>
                <a:lnTo>
                  <a:pt x="1523169" y="400740"/>
                </a:lnTo>
                <a:close/>
                <a:moveTo>
                  <a:pt x="1848535" y="335659"/>
                </a:moveTo>
                <a:lnTo>
                  <a:pt x="1832109" y="524134"/>
                </a:lnTo>
                <a:lnTo>
                  <a:pt x="1824724" y="608874"/>
                </a:lnTo>
                <a:lnTo>
                  <a:pt x="1940556" y="608940"/>
                </a:lnTo>
                <a:lnTo>
                  <a:pt x="1947847" y="524134"/>
                </a:lnTo>
                <a:lnTo>
                  <a:pt x="2057502" y="524134"/>
                </a:lnTo>
                <a:lnTo>
                  <a:pt x="2057503" y="524134"/>
                </a:lnTo>
                <a:lnTo>
                  <a:pt x="2070416" y="524134"/>
                </a:lnTo>
                <a:lnTo>
                  <a:pt x="2070534" y="524121"/>
                </a:lnTo>
                <a:cubicBezTo>
                  <a:pt x="2081154" y="521871"/>
                  <a:pt x="2089895" y="514279"/>
                  <a:pt x="2094022" y="504174"/>
                </a:cubicBezTo>
                <a:lnTo>
                  <a:pt x="2095000" y="500912"/>
                </a:lnTo>
                <a:lnTo>
                  <a:pt x="2095987" y="489878"/>
                </a:lnTo>
                <a:lnTo>
                  <a:pt x="2096299" y="489878"/>
                </a:lnTo>
                <a:lnTo>
                  <a:pt x="2096299" y="486384"/>
                </a:lnTo>
                <a:lnTo>
                  <a:pt x="2102845" y="413232"/>
                </a:lnTo>
                <a:lnTo>
                  <a:pt x="2103101" y="413232"/>
                </a:lnTo>
                <a:lnTo>
                  <a:pt x="2104495" y="397641"/>
                </a:lnTo>
                <a:lnTo>
                  <a:pt x="2104496" y="397641"/>
                </a:lnTo>
                <a:lnTo>
                  <a:pt x="2106233" y="378216"/>
                </a:lnTo>
                <a:lnTo>
                  <a:pt x="2107174" y="367696"/>
                </a:lnTo>
                <a:lnTo>
                  <a:pt x="2106716" y="362989"/>
                </a:lnTo>
                <a:cubicBezTo>
                  <a:pt x="2104109" y="349793"/>
                  <a:pt x="2094071" y="339400"/>
                  <a:pt x="2081327" y="336700"/>
                </a:cubicBezTo>
                <a:lnTo>
                  <a:pt x="2079056" y="336462"/>
                </a:lnTo>
                <a:lnTo>
                  <a:pt x="2070447" y="336462"/>
                </a:lnTo>
                <a:lnTo>
                  <a:pt x="1963600" y="336462"/>
                </a:lnTo>
                <a:lnTo>
                  <a:pt x="1963666" y="335659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rgbClr val="77E2C3"/>
              </a:gs>
            </a:gsLst>
            <a:lin ang="13500000" scaled="1"/>
            <a:tileRect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1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7700" y="884846"/>
            <a:ext cx="3924300" cy="1682083"/>
          </a:xfrm>
        </p:spPr>
        <p:txBody>
          <a:bodyPr vert="horz"/>
          <a:lstStyle>
            <a:lvl1pPr marL="0" algn="l" defTabSz="77898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ru-RU" sz="4000" b="1" i="0" kern="1200" dirty="0">
                <a:solidFill>
                  <a:schemeClr val="tx1"/>
                </a:solidFill>
                <a:latin typeface="Arial" panose="020B0604020202020204" pitchFamily="34" charset="0"/>
                <a:ea typeface="Roboto SemiBold" pitchFamily="34" charset="-122"/>
                <a:cs typeface="Arial" panose="020B0604020202020204" pitchFamily="34" charset="0"/>
              </a:defRPr>
            </a:lvl1pPr>
          </a:lstStyle>
          <a:p>
            <a:r>
              <a:rPr lang="ru-RU" dirty="0"/>
              <a:t>Заголовок презентации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в 3 строки</a:t>
            </a:r>
          </a:p>
        </p:txBody>
      </p:sp>
      <p:sp>
        <p:nvSpPr>
          <p:cNvPr id="10" name="Текст 7">
            <a:extLst>
              <a:ext uri="{FF2B5EF4-FFF2-40B4-BE49-F238E27FC236}">
                <a16:creationId xmlns:a16="http://schemas.microsoft.com/office/drawing/2014/main" id="{3ABA512B-BCE2-2D3E-69FD-E20741180E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5638" y="2679211"/>
            <a:ext cx="3916362" cy="553998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18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</a:t>
            </a:r>
          </a:p>
          <a:p>
            <a:pPr lvl="0"/>
            <a:r>
              <a:rPr lang="ru-RU" dirty="0"/>
              <a:t>по необходимости)</a:t>
            </a:r>
          </a:p>
        </p:txBody>
      </p:sp>
      <p:sp>
        <p:nvSpPr>
          <p:cNvPr id="22" name="Текст 2">
            <a:extLst>
              <a:ext uri="{FF2B5EF4-FFF2-40B4-BE49-F238E27FC236}">
                <a16:creationId xmlns:a16="http://schemas.microsoft.com/office/drawing/2014/main" id="{722D11DA-DAA9-495C-6331-1DA0EA7E73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1241" y="3808655"/>
            <a:ext cx="3920759" cy="384721"/>
          </a:xfrm>
        </p:spPr>
        <p:txBody>
          <a:bodyPr>
            <a:spAutoFit/>
          </a:bodyPr>
          <a:lstStyle>
            <a:lvl2pPr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marL="0" lvl="1" indent="0" algn="l" defTabSz="778986" rtl="0" eaLnBrk="1" fontAlgn="base" latinLnBrk="0" hangingPunct="1">
              <a:lnSpc>
                <a:spcPts val="148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ru-RU" dirty="0"/>
              <a:t>Имя Фамилия,</a:t>
            </a:r>
          </a:p>
          <a:p>
            <a:pPr marL="0" lvl="1" indent="0" algn="l" defTabSz="778986" rtl="0" eaLnBrk="1" fontAlgn="base" latinLnBrk="0" hangingPunct="1">
              <a:lnSpc>
                <a:spcPts val="148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ru-RU" dirty="0"/>
              <a:t>Должность</a:t>
            </a:r>
          </a:p>
        </p:txBody>
      </p:sp>
      <p:sp>
        <p:nvSpPr>
          <p:cNvPr id="23" name="Текст 12">
            <a:extLst>
              <a:ext uri="{FF2B5EF4-FFF2-40B4-BE49-F238E27FC236}">
                <a16:creationId xmlns:a16="http://schemas.microsoft.com/office/drawing/2014/main" id="{25779369-C9F4-4FDF-CC9A-15FBA01D2E9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628" y="4637792"/>
            <a:ext cx="3592522" cy="262059"/>
          </a:xfrm>
          <a:prstGeom prst="rect">
            <a:avLst/>
          </a:prstGeom>
          <a:effectLst/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0" baseline="0">
                <a:solidFill>
                  <a:schemeClr val="tx2"/>
                </a:solidFill>
                <a:effectLst/>
              </a:defRPr>
            </a:lvl1pPr>
            <a:lvl3pPr>
              <a:defRPr lang="ru-RU" sz="1400" b="0" i="0" kern="1200" dirty="0">
                <a:solidFill>
                  <a:schemeClr val="bg2"/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3pPr>
          </a:lstStyle>
          <a:p>
            <a:pPr marL="0" lvl="2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ru-RU" dirty="0"/>
              <a:t>Месяц/Год</a:t>
            </a:r>
          </a:p>
        </p:txBody>
      </p:sp>
    </p:spTree>
    <p:extLst>
      <p:ext uri="{BB962C8B-B14F-4D97-AF65-F5344CB8AC3E}">
        <p14:creationId xmlns:p14="http://schemas.microsoft.com/office/powerpoint/2010/main" val="1008310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Т0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D4F5CD2E-4723-C375-8CAB-B6893CF5361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1072604 w 9144000"/>
              <a:gd name="connsiteY0" fmla="*/ 582669 h 5143500"/>
              <a:gd name="connsiteX1" fmla="*/ 1072584 w 9144000"/>
              <a:gd name="connsiteY1" fmla="*/ 582859 h 5143500"/>
              <a:gd name="connsiteX2" fmla="*/ 1072603 w 9144000"/>
              <a:gd name="connsiteY2" fmla="*/ 582669 h 5143500"/>
              <a:gd name="connsiteX3" fmla="*/ 1369198 w 9144000"/>
              <a:gd name="connsiteY3" fmla="*/ 492617 h 5143500"/>
              <a:gd name="connsiteX4" fmla="*/ 1398683 w 9144000"/>
              <a:gd name="connsiteY4" fmla="*/ 492617 h 5143500"/>
              <a:gd name="connsiteX5" fmla="*/ 1393955 w 9144000"/>
              <a:gd name="connsiteY5" fmla="*/ 543661 h 5143500"/>
              <a:gd name="connsiteX6" fmla="*/ 1364780 w 9144000"/>
              <a:gd name="connsiteY6" fmla="*/ 543661 h 5143500"/>
              <a:gd name="connsiteX7" fmla="*/ 1959479 w 9144000"/>
              <a:gd name="connsiteY7" fmla="*/ 399656 h 5143500"/>
              <a:gd name="connsiteX8" fmla="*/ 1988417 w 9144000"/>
              <a:gd name="connsiteY8" fmla="*/ 399981 h 5143500"/>
              <a:gd name="connsiteX9" fmla="*/ 1981589 w 9144000"/>
              <a:gd name="connsiteY9" fmla="*/ 468263 h 5143500"/>
              <a:gd name="connsiteX10" fmla="*/ 1952651 w 9144000"/>
              <a:gd name="connsiteY10" fmla="*/ 468263 h 5143500"/>
              <a:gd name="connsiteX11" fmla="*/ 1114443 w 9144000"/>
              <a:gd name="connsiteY11" fmla="*/ 362788 h 5143500"/>
              <a:gd name="connsiteX12" fmla="*/ 1114210 w 9144000"/>
              <a:gd name="connsiteY12" fmla="*/ 365089 h 5143500"/>
              <a:gd name="connsiteX13" fmla="*/ 1114210 w 9144000"/>
              <a:gd name="connsiteY13" fmla="*/ 365088 h 5143500"/>
              <a:gd name="connsiteX14" fmla="*/ 976557 w 9144000"/>
              <a:gd name="connsiteY14" fmla="*/ 336310 h 5143500"/>
              <a:gd name="connsiteX15" fmla="*/ 952100 w 9144000"/>
              <a:gd name="connsiteY15" fmla="*/ 608940 h 5143500"/>
              <a:gd name="connsiteX16" fmla="*/ 986960 w 9144000"/>
              <a:gd name="connsiteY16" fmla="*/ 608940 h 5143500"/>
              <a:gd name="connsiteX17" fmla="*/ 1040642 w 9144000"/>
              <a:gd name="connsiteY17" fmla="*/ 608940 h 5143500"/>
              <a:gd name="connsiteX18" fmla="*/ 1044511 w 9144000"/>
              <a:gd name="connsiteY18" fmla="*/ 608940 h 5143500"/>
              <a:gd name="connsiteX19" fmla="*/ 1044511 w 9144000"/>
              <a:gd name="connsiteY19" fmla="*/ 608550 h 5143500"/>
              <a:gd name="connsiteX20" fmla="*/ 1047212 w 9144000"/>
              <a:gd name="connsiteY20" fmla="*/ 608278 h 5143500"/>
              <a:gd name="connsiteX21" fmla="*/ 1063693 w 9144000"/>
              <a:gd name="connsiteY21" fmla="*/ 599393 h 5143500"/>
              <a:gd name="connsiteX22" fmla="*/ 1069616 w 9144000"/>
              <a:gd name="connsiteY22" fmla="*/ 590607 h 5143500"/>
              <a:gd name="connsiteX23" fmla="*/ 1070680 w 9144000"/>
              <a:gd name="connsiteY23" fmla="*/ 589030 h 5143500"/>
              <a:gd name="connsiteX24" fmla="*/ 1072579 w 9144000"/>
              <a:gd name="connsiteY24" fmla="*/ 582912 h 5143500"/>
              <a:gd name="connsiteX25" fmla="*/ 1072584 w 9144000"/>
              <a:gd name="connsiteY25" fmla="*/ 582859 h 5143500"/>
              <a:gd name="connsiteX26" fmla="*/ 1109730 w 9144000"/>
              <a:gd name="connsiteY26" fmla="*/ 485878 h 5143500"/>
              <a:gd name="connsiteX27" fmla="*/ 1097365 w 9144000"/>
              <a:gd name="connsiteY27" fmla="*/ 608940 h 5143500"/>
              <a:gd name="connsiteX28" fmla="*/ 1213696 w 9144000"/>
              <a:gd name="connsiteY28" fmla="*/ 608940 h 5143500"/>
              <a:gd name="connsiteX29" fmla="*/ 1238154 w 9144000"/>
              <a:gd name="connsiteY29" fmla="*/ 336310 h 5143500"/>
              <a:gd name="connsiteX30" fmla="*/ 1205981 w 9144000"/>
              <a:gd name="connsiteY30" fmla="*/ 336310 h 5143500"/>
              <a:gd name="connsiteX31" fmla="*/ 1146424 w 9144000"/>
              <a:gd name="connsiteY31" fmla="*/ 336310 h 5143500"/>
              <a:gd name="connsiteX32" fmla="*/ 1142381 w 9144000"/>
              <a:gd name="connsiteY32" fmla="*/ 336310 h 5143500"/>
              <a:gd name="connsiteX33" fmla="*/ 1142381 w 9144000"/>
              <a:gd name="connsiteY33" fmla="*/ 336717 h 5143500"/>
              <a:gd name="connsiteX34" fmla="*/ 1139854 w 9144000"/>
              <a:gd name="connsiteY34" fmla="*/ 336972 h 5143500"/>
              <a:gd name="connsiteX35" fmla="*/ 1123374 w 9144000"/>
              <a:gd name="connsiteY35" fmla="*/ 345858 h 5143500"/>
              <a:gd name="connsiteX36" fmla="*/ 1116745 w 9144000"/>
              <a:gd name="connsiteY36" fmla="*/ 355689 h 5143500"/>
              <a:gd name="connsiteX37" fmla="*/ 1116388 w 9144000"/>
              <a:gd name="connsiteY37" fmla="*/ 356220 h 5143500"/>
              <a:gd name="connsiteX38" fmla="*/ 1114488 w 9144000"/>
              <a:gd name="connsiteY38" fmla="*/ 362339 h 5143500"/>
              <a:gd name="connsiteX39" fmla="*/ 1114443 w 9144000"/>
              <a:gd name="connsiteY39" fmla="*/ 362788 h 5143500"/>
              <a:gd name="connsiteX40" fmla="*/ 1077630 w 9144000"/>
              <a:gd name="connsiteY40" fmla="*/ 476280 h 5143500"/>
              <a:gd name="connsiteX41" fmla="*/ 1092415 w 9144000"/>
              <a:gd name="connsiteY41" fmla="*/ 336310 h 5143500"/>
              <a:gd name="connsiteX42" fmla="*/ 715068 w 9144000"/>
              <a:gd name="connsiteY42" fmla="*/ 336310 h 5143500"/>
              <a:gd name="connsiteX43" fmla="*/ 685031 w 9144000"/>
              <a:gd name="connsiteY43" fmla="*/ 356220 h 5143500"/>
              <a:gd name="connsiteX44" fmla="*/ 683600 w 9144000"/>
              <a:gd name="connsiteY44" fmla="*/ 360829 h 5143500"/>
              <a:gd name="connsiteX45" fmla="*/ 682668 w 9144000"/>
              <a:gd name="connsiteY45" fmla="*/ 370886 h 5143500"/>
              <a:gd name="connsiteX46" fmla="*/ 682669 w 9144000"/>
              <a:gd name="connsiteY46" fmla="*/ 370887 h 5143500"/>
              <a:gd name="connsiteX47" fmla="*/ 663648 w 9144000"/>
              <a:gd name="connsiteY47" fmla="*/ 576234 h 5143500"/>
              <a:gd name="connsiteX48" fmla="*/ 663574 w 9144000"/>
              <a:gd name="connsiteY48" fmla="*/ 577024 h 5143500"/>
              <a:gd name="connsiteX49" fmla="*/ 664233 w 9144000"/>
              <a:gd name="connsiteY49" fmla="*/ 583561 h 5143500"/>
              <a:gd name="connsiteX50" fmla="*/ 689600 w 9144000"/>
              <a:gd name="connsiteY50" fmla="*/ 608928 h 5143500"/>
              <a:gd name="connsiteX51" fmla="*/ 689718 w 9144000"/>
              <a:gd name="connsiteY51" fmla="*/ 608940 h 5143500"/>
              <a:gd name="connsiteX52" fmla="*/ 702621 w 9144000"/>
              <a:gd name="connsiteY52" fmla="*/ 608940 h 5143500"/>
              <a:gd name="connsiteX53" fmla="*/ 887067 w 9144000"/>
              <a:gd name="connsiteY53" fmla="*/ 608940 h 5143500"/>
              <a:gd name="connsiteX54" fmla="*/ 887068 w 9144000"/>
              <a:gd name="connsiteY54" fmla="*/ 608940 h 5143500"/>
              <a:gd name="connsiteX55" fmla="*/ 899969 w 9144000"/>
              <a:gd name="connsiteY55" fmla="*/ 608940 h 5143500"/>
              <a:gd name="connsiteX56" fmla="*/ 900089 w 9144000"/>
              <a:gd name="connsiteY56" fmla="*/ 608928 h 5143500"/>
              <a:gd name="connsiteX57" fmla="*/ 923555 w 9144000"/>
              <a:gd name="connsiteY57" fmla="*/ 589681 h 5143500"/>
              <a:gd name="connsiteX58" fmla="*/ 924532 w 9144000"/>
              <a:gd name="connsiteY58" fmla="*/ 586533 h 5143500"/>
              <a:gd name="connsiteX59" fmla="*/ 925519 w 9144000"/>
              <a:gd name="connsiteY59" fmla="*/ 575886 h 5143500"/>
              <a:gd name="connsiteX60" fmla="*/ 925831 w 9144000"/>
              <a:gd name="connsiteY60" fmla="*/ 575886 h 5143500"/>
              <a:gd name="connsiteX61" fmla="*/ 925831 w 9144000"/>
              <a:gd name="connsiteY61" fmla="*/ 572515 h 5143500"/>
              <a:gd name="connsiteX62" fmla="*/ 933801 w 9144000"/>
              <a:gd name="connsiteY62" fmla="*/ 486470 h 5143500"/>
              <a:gd name="connsiteX63" fmla="*/ 817697 w 9144000"/>
              <a:gd name="connsiteY63" fmla="*/ 486470 h 5143500"/>
              <a:gd name="connsiteX64" fmla="*/ 812399 w 9144000"/>
              <a:gd name="connsiteY64" fmla="*/ 543661 h 5143500"/>
              <a:gd name="connsiteX65" fmla="*/ 782356 w 9144000"/>
              <a:gd name="connsiteY65" fmla="*/ 543661 h 5143500"/>
              <a:gd name="connsiteX66" fmla="*/ 795564 w 9144000"/>
              <a:gd name="connsiteY66" fmla="*/ 401073 h 5143500"/>
              <a:gd name="connsiteX67" fmla="*/ 825607 w 9144000"/>
              <a:gd name="connsiteY67" fmla="*/ 401073 h 5143500"/>
              <a:gd name="connsiteX68" fmla="*/ 820739 w 9144000"/>
              <a:gd name="connsiteY68" fmla="*/ 453631 h 5143500"/>
              <a:gd name="connsiteX69" fmla="*/ 936843 w 9144000"/>
              <a:gd name="connsiteY69" fmla="*/ 453631 h 5143500"/>
              <a:gd name="connsiteX70" fmla="*/ 943979 w 9144000"/>
              <a:gd name="connsiteY70" fmla="*/ 376599 h 5143500"/>
              <a:gd name="connsiteX71" fmla="*/ 944919 w 9144000"/>
              <a:gd name="connsiteY71" fmla="*/ 366447 h 5143500"/>
              <a:gd name="connsiteX72" fmla="*/ 944462 w 9144000"/>
              <a:gd name="connsiteY72" fmla="*/ 361905 h 5143500"/>
              <a:gd name="connsiteX73" fmla="*/ 919095 w 9144000"/>
              <a:gd name="connsiteY73" fmla="*/ 336538 h 5143500"/>
              <a:gd name="connsiteX74" fmla="*/ 916825 w 9144000"/>
              <a:gd name="connsiteY74" fmla="*/ 336310 h 5143500"/>
              <a:gd name="connsiteX75" fmla="*/ 908224 w 9144000"/>
              <a:gd name="connsiteY75" fmla="*/ 336310 h 5143500"/>
              <a:gd name="connsiteX76" fmla="*/ 1818985 w 9144000"/>
              <a:gd name="connsiteY76" fmla="*/ 336280 h 5143500"/>
              <a:gd name="connsiteX77" fmla="*/ 1703832 w 9144000"/>
              <a:gd name="connsiteY77" fmla="*/ 336294 h 5143500"/>
              <a:gd name="connsiteX78" fmla="*/ 1692459 w 9144000"/>
              <a:gd name="connsiteY78" fmla="*/ 460889 h 5143500"/>
              <a:gd name="connsiteX79" fmla="*/ 1663495 w 9144000"/>
              <a:gd name="connsiteY79" fmla="*/ 460456 h 5143500"/>
              <a:gd name="connsiteX80" fmla="*/ 1674348 w 9144000"/>
              <a:gd name="connsiteY80" fmla="*/ 336296 h 5143500"/>
              <a:gd name="connsiteX81" fmla="*/ 1557673 w 9144000"/>
              <a:gd name="connsiteY81" fmla="*/ 336310 h 5143500"/>
              <a:gd name="connsiteX82" fmla="*/ 1545183 w 9144000"/>
              <a:gd name="connsiteY82" fmla="*/ 477578 h 5143500"/>
              <a:gd name="connsiteX83" fmla="*/ 1544330 w 9144000"/>
              <a:gd name="connsiteY83" fmla="*/ 487217 h 5143500"/>
              <a:gd name="connsiteX84" fmla="*/ 1544805 w 9144000"/>
              <a:gd name="connsiteY84" fmla="*/ 491932 h 5143500"/>
              <a:gd name="connsiteX85" fmla="*/ 1564053 w 9144000"/>
              <a:gd name="connsiteY85" fmla="*/ 515399 h 5143500"/>
              <a:gd name="connsiteX86" fmla="*/ 1569502 w 9144000"/>
              <a:gd name="connsiteY86" fmla="*/ 517091 h 5143500"/>
              <a:gd name="connsiteX87" fmla="*/ 1583887 w 9144000"/>
              <a:gd name="connsiteY87" fmla="*/ 517120 h 5143500"/>
              <a:gd name="connsiteX88" fmla="*/ 1686932 w 9144000"/>
              <a:gd name="connsiteY88" fmla="*/ 517328 h 5143500"/>
              <a:gd name="connsiteX89" fmla="*/ 1684804 w 9144000"/>
              <a:gd name="connsiteY89" fmla="*/ 544527 h 5143500"/>
              <a:gd name="connsiteX90" fmla="*/ 1539278 w 9144000"/>
              <a:gd name="connsiteY90" fmla="*/ 544347 h 5143500"/>
              <a:gd name="connsiteX91" fmla="*/ 1533567 w 9144000"/>
              <a:gd name="connsiteY91" fmla="*/ 608940 h 5143500"/>
              <a:gd name="connsiteX92" fmla="*/ 1759039 w 9144000"/>
              <a:gd name="connsiteY92" fmla="*/ 608940 h 5143500"/>
              <a:gd name="connsiteX93" fmla="*/ 1759040 w 9144000"/>
              <a:gd name="connsiteY93" fmla="*/ 608940 h 5143500"/>
              <a:gd name="connsiteX94" fmla="*/ 1771942 w 9144000"/>
              <a:gd name="connsiteY94" fmla="*/ 608940 h 5143500"/>
              <a:gd name="connsiteX95" fmla="*/ 1772060 w 9144000"/>
              <a:gd name="connsiteY95" fmla="*/ 608928 h 5143500"/>
              <a:gd name="connsiteX96" fmla="*/ 1795528 w 9144000"/>
              <a:gd name="connsiteY96" fmla="*/ 589681 h 5143500"/>
              <a:gd name="connsiteX97" fmla="*/ 1796504 w 9144000"/>
              <a:gd name="connsiteY97" fmla="*/ 586533 h 5143500"/>
              <a:gd name="connsiteX98" fmla="*/ 1797490 w 9144000"/>
              <a:gd name="connsiteY98" fmla="*/ 575886 h 5143500"/>
              <a:gd name="connsiteX99" fmla="*/ 1797803 w 9144000"/>
              <a:gd name="connsiteY99" fmla="*/ 575886 h 5143500"/>
              <a:gd name="connsiteX100" fmla="*/ 1797803 w 9144000"/>
              <a:gd name="connsiteY100" fmla="*/ 572515 h 5143500"/>
              <a:gd name="connsiteX101" fmla="*/ 1528570 w 9144000"/>
              <a:gd name="connsiteY101" fmla="*/ 336280 h 5143500"/>
              <a:gd name="connsiteX102" fmla="*/ 1267258 w 9144000"/>
              <a:gd name="connsiteY102" fmla="*/ 336310 h 5143500"/>
              <a:gd name="connsiteX103" fmla="*/ 1243152 w 9144000"/>
              <a:gd name="connsiteY103" fmla="*/ 608940 h 5143500"/>
              <a:gd name="connsiteX104" fmla="*/ 1468623 w 9144000"/>
              <a:gd name="connsiteY104" fmla="*/ 608940 h 5143500"/>
              <a:gd name="connsiteX105" fmla="*/ 1468624 w 9144000"/>
              <a:gd name="connsiteY105" fmla="*/ 608940 h 5143500"/>
              <a:gd name="connsiteX106" fmla="*/ 1481527 w 9144000"/>
              <a:gd name="connsiteY106" fmla="*/ 608940 h 5143500"/>
              <a:gd name="connsiteX107" fmla="*/ 1481645 w 9144000"/>
              <a:gd name="connsiteY107" fmla="*/ 608928 h 5143500"/>
              <a:gd name="connsiteX108" fmla="*/ 1505112 w 9144000"/>
              <a:gd name="connsiteY108" fmla="*/ 589681 h 5143500"/>
              <a:gd name="connsiteX109" fmla="*/ 1506089 w 9144000"/>
              <a:gd name="connsiteY109" fmla="*/ 586533 h 5143500"/>
              <a:gd name="connsiteX110" fmla="*/ 1507075 w 9144000"/>
              <a:gd name="connsiteY110" fmla="*/ 575886 h 5143500"/>
              <a:gd name="connsiteX111" fmla="*/ 1507387 w 9144000"/>
              <a:gd name="connsiteY111" fmla="*/ 575886 h 5143500"/>
              <a:gd name="connsiteX112" fmla="*/ 1507387 w 9144000"/>
              <a:gd name="connsiteY112" fmla="*/ 572515 h 5143500"/>
              <a:gd name="connsiteX113" fmla="*/ 1513926 w 9144000"/>
              <a:gd name="connsiteY113" fmla="*/ 501930 h 5143500"/>
              <a:gd name="connsiteX114" fmla="*/ 1514182 w 9144000"/>
              <a:gd name="connsiteY114" fmla="*/ 501930 h 5143500"/>
              <a:gd name="connsiteX115" fmla="*/ 1517312 w 9144000"/>
              <a:gd name="connsiteY115" fmla="*/ 468143 h 5143500"/>
              <a:gd name="connsiteX116" fmla="*/ 1518253 w 9144000"/>
              <a:gd name="connsiteY116" fmla="*/ 457991 h 5143500"/>
              <a:gd name="connsiteX117" fmla="*/ 1517795 w 9144000"/>
              <a:gd name="connsiteY117" fmla="*/ 453449 h 5143500"/>
              <a:gd name="connsiteX118" fmla="*/ 1492428 w 9144000"/>
              <a:gd name="connsiteY118" fmla="*/ 428082 h 5143500"/>
              <a:gd name="connsiteX119" fmla="*/ 1490159 w 9144000"/>
              <a:gd name="connsiteY119" fmla="*/ 427853 h 5143500"/>
              <a:gd name="connsiteX120" fmla="*/ 1481557 w 9144000"/>
              <a:gd name="connsiteY120" fmla="*/ 427853 h 5143500"/>
              <a:gd name="connsiteX121" fmla="*/ 1374802 w 9144000"/>
              <a:gd name="connsiteY121" fmla="*/ 427853 h 5143500"/>
              <a:gd name="connsiteX122" fmla="*/ 1377120 w 9144000"/>
              <a:gd name="connsiteY122" fmla="*/ 401073 h 5143500"/>
              <a:gd name="connsiteX123" fmla="*/ 1523169 w 9144000"/>
              <a:gd name="connsiteY123" fmla="*/ 400740 h 5143500"/>
              <a:gd name="connsiteX124" fmla="*/ 1848535 w 9144000"/>
              <a:gd name="connsiteY124" fmla="*/ 335659 h 5143500"/>
              <a:gd name="connsiteX125" fmla="*/ 1832109 w 9144000"/>
              <a:gd name="connsiteY125" fmla="*/ 524134 h 5143500"/>
              <a:gd name="connsiteX126" fmla="*/ 1824724 w 9144000"/>
              <a:gd name="connsiteY126" fmla="*/ 608874 h 5143500"/>
              <a:gd name="connsiteX127" fmla="*/ 1940556 w 9144000"/>
              <a:gd name="connsiteY127" fmla="*/ 608940 h 5143500"/>
              <a:gd name="connsiteX128" fmla="*/ 1947847 w 9144000"/>
              <a:gd name="connsiteY128" fmla="*/ 524134 h 5143500"/>
              <a:gd name="connsiteX129" fmla="*/ 2057502 w 9144000"/>
              <a:gd name="connsiteY129" fmla="*/ 524134 h 5143500"/>
              <a:gd name="connsiteX130" fmla="*/ 2057503 w 9144000"/>
              <a:gd name="connsiteY130" fmla="*/ 524134 h 5143500"/>
              <a:gd name="connsiteX131" fmla="*/ 2070416 w 9144000"/>
              <a:gd name="connsiteY131" fmla="*/ 524134 h 5143500"/>
              <a:gd name="connsiteX132" fmla="*/ 2070534 w 9144000"/>
              <a:gd name="connsiteY132" fmla="*/ 524121 h 5143500"/>
              <a:gd name="connsiteX133" fmla="*/ 2094022 w 9144000"/>
              <a:gd name="connsiteY133" fmla="*/ 504174 h 5143500"/>
              <a:gd name="connsiteX134" fmla="*/ 2095000 w 9144000"/>
              <a:gd name="connsiteY134" fmla="*/ 500912 h 5143500"/>
              <a:gd name="connsiteX135" fmla="*/ 2095987 w 9144000"/>
              <a:gd name="connsiteY135" fmla="*/ 489878 h 5143500"/>
              <a:gd name="connsiteX136" fmla="*/ 2096299 w 9144000"/>
              <a:gd name="connsiteY136" fmla="*/ 489878 h 5143500"/>
              <a:gd name="connsiteX137" fmla="*/ 2096299 w 9144000"/>
              <a:gd name="connsiteY137" fmla="*/ 486384 h 5143500"/>
              <a:gd name="connsiteX138" fmla="*/ 2102845 w 9144000"/>
              <a:gd name="connsiteY138" fmla="*/ 413232 h 5143500"/>
              <a:gd name="connsiteX139" fmla="*/ 2103101 w 9144000"/>
              <a:gd name="connsiteY139" fmla="*/ 413232 h 5143500"/>
              <a:gd name="connsiteX140" fmla="*/ 2104495 w 9144000"/>
              <a:gd name="connsiteY140" fmla="*/ 397641 h 5143500"/>
              <a:gd name="connsiteX141" fmla="*/ 2104496 w 9144000"/>
              <a:gd name="connsiteY141" fmla="*/ 397641 h 5143500"/>
              <a:gd name="connsiteX142" fmla="*/ 2106233 w 9144000"/>
              <a:gd name="connsiteY142" fmla="*/ 378216 h 5143500"/>
              <a:gd name="connsiteX143" fmla="*/ 2107174 w 9144000"/>
              <a:gd name="connsiteY143" fmla="*/ 367696 h 5143500"/>
              <a:gd name="connsiteX144" fmla="*/ 2106716 w 9144000"/>
              <a:gd name="connsiteY144" fmla="*/ 362989 h 5143500"/>
              <a:gd name="connsiteX145" fmla="*/ 2081327 w 9144000"/>
              <a:gd name="connsiteY145" fmla="*/ 336700 h 5143500"/>
              <a:gd name="connsiteX146" fmla="*/ 2079056 w 9144000"/>
              <a:gd name="connsiteY146" fmla="*/ 336462 h 5143500"/>
              <a:gd name="connsiteX147" fmla="*/ 2070447 w 9144000"/>
              <a:gd name="connsiteY147" fmla="*/ 336462 h 5143500"/>
              <a:gd name="connsiteX148" fmla="*/ 1963600 w 9144000"/>
              <a:gd name="connsiteY148" fmla="*/ 336462 h 5143500"/>
              <a:gd name="connsiteX149" fmla="*/ 1963666 w 9144000"/>
              <a:gd name="connsiteY149" fmla="*/ 335659 h 5143500"/>
              <a:gd name="connsiteX150" fmla="*/ 0 w 9144000"/>
              <a:gd name="connsiteY150" fmla="*/ 0 h 5143500"/>
              <a:gd name="connsiteX151" fmla="*/ 9144000 w 9144000"/>
              <a:gd name="connsiteY151" fmla="*/ 0 h 5143500"/>
              <a:gd name="connsiteX152" fmla="*/ 9144000 w 9144000"/>
              <a:gd name="connsiteY152" fmla="*/ 5143500 h 5143500"/>
              <a:gd name="connsiteX153" fmla="*/ 0 w 9144000"/>
              <a:gd name="connsiteY15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9144000" h="5143500">
                <a:moveTo>
                  <a:pt x="1072604" y="582669"/>
                </a:moveTo>
                <a:lnTo>
                  <a:pt x="1072584" y="582859"/>
                </a:lnTo>
                <a:lnTo>
                  <a:pt x="1072603" y="582669"/>
                </a:lnTo>
                <a:close/>
                <a:moveTo>
                  <a:pt x="1369198" y="492617"/>
                </a:moveTo>
                <a:lnTo>
                  <a:pt x="1398683" y="492617"/>
                </a:lnTo>
                <a:lnTo>
                  <a:pt x="1393955" y="543661"/>
                </a:lnTo>
                <a:lnTo>
                  <a:pt x="1364780" y="543661"/>
                </a:lnTo>
                <a:close/>
                <a:moveTo>
                  <a:pt x="1959479" y="399656"/>
                </a:moveTo>
                <a:lnTo>
                  <a:pt x="1988417" y="399981"/>
                </a:lnTo>
                <a:lnTo>
                  <a:pt x="1981589" y="468263"/>
                </a:lnTo>
                <a:lnTo>
                  <a:pt x="1952651" y="468263"/>
                </a:lnTo>
                <a:close/>
                <a:moveTo>
                  <a:pt x="1114443" y="362788"/>
                </a:moveTo>
                <a:lnTo>
                  <a:pt x="1114210" y="365089"/>
                </a:lnTo>
                <a:lnTo>
                  <a:pt x="1114210" y="365088"/>
                </a:lnTo>
                <a:close/>
                <a:moveTo>
                  <a:pt x="976557" y="336310"/>
                </a:moveTo>
                <a:lnTo>
                  <a:pt x="952100" y="608940"/>
                </a:lnTo>
                <a:lnTo>
                  <a:pt x="986960" y="608940"/>
                </a:lnTo>
                <a:lnTo>
                  <a:pt x="1040642" y="608940"/>
                </a:lnTo>
                <a:lnTo>
                  <a:pt x="1044511" y="608940"/>
                </a:lnTo>
                <a:lnTo>
                  <a:pt x="1044511" y="608550"/>
                </a:lnTo>
                <a:lnTo>
                  <a:pt x="1047212" y="608278"/>
                </a:lnTo>
                <a:cubicBezTo>
                  <a:pt x="1053578" y="606976"/>
                  <a:pt x="1059268" y="603817"/>
                  <a:pt x="1063693" y="599393"/>
                </a:cubicBezTo>
                <a:lnTo>
                  <a:pt x="1069616" y="590607"/>
                </a:lnTo>
                <a:lnTo>
                  <a:pt x="1070680" y="589030"/>
                </a:lnTo>
                <a:cubicBezTo>
                  <a:pt x="1071504" y="587080"/>
                  <a:pt x="1072145" y="585034"/>
                  <a:pt x="1072579" y="582912"/>
                </a:cubicBezTo>
                <a:lnTo>
                  <a:pt x="1072584" y="582859"/>
                </a:lnTo>
                <a:lnTo>
                  <a:pt x="1109730" y="485878"/>
                </a:lnTo>
                <a:lnTo>
                  <a:pt x="1097365" y="608940"/>
                </a:lnTo>
                <a:lnTo>
                  <a:pt x="1213696" y="608940"/>
                </a:lnTo>
                <a:lnTo>
                  <a:pt x="1238154" y="336310"/>
                </a:lnTo>
                <a:lnTo>
                  <a:pt x="1205981" y="336310"/>
                </a:lnTo>
                <a:lnTo>
                  <a:pt x="1146424" y="336310"/>
                </a:lnTo>
                <a:lnTo>
                  <a:pt x="1142381" y="336310"/>
                </a:lnTo>
                <a:lnTo>
                  <a:pt x="1142381" y="336717"/>
                </a:lnTo>
                <a:lnTo>
                  <a:pt x="1139854" y="336972"/>
                </a:lnTo>
                <a:cubicBezTo>
                  <a:pt x="1133488" y="338275"/>
                  <a:pt x="1127798" y="341434"/>
                  <a:pt x="1123374" y="345858"/>
                </a:cubicBezTo>
                <a:lnTo>
                  <a:pt x="1116745" y="355689"/>
                </a:lnTo>
                <a:lnTo>
                  <a:pt x="1116388" y="356220"/>
                </a:lnTo>
                <a:cubicBezTo>
                  <a:pt x="1115562" y="358170"/>
                  <a:pt x="1114922" y="360217"/>
                  <a:pt x="1114488" y="362339"/>
                </a:cubicBezTo>
                <a:lnTo>
                  <a:pt x="1114443" y="362788"/>
                </a:lnTo>
                <a:lnTo>
                  <a:pt x="1077630" y="476280"/>
                </a:lnTo>
                <a:lnTo>
                  <a:pt x="1092415" y="336310"/>
                </a:lnTo>
                <a:close/>
                <a:moveTo>
                  <a:pt x="715068" y="336310"/>
                </a:moveTo>
                <a:cubicBezTo>
                  <a:pt x="701565" y="336310"/>
                  <a:pt x="689980" y="344520"/>
                  <a:pt x="685031" y="356220"/>
                </a:cubicBezTo>
                <a:lnTo>
                  <a:pt x="683600" y="360829"/>
                </a:lnTo>
                <a:lnTo>
                  <a:pt x="682668" y="370886"/>
                </a:lnTo>
                <a:cubicBezTo>
                  <a:pt x="682668" y="370887"/>
                  <a:pt x="682669" y="370887"/>
                  <a:pt x="682669" y="370887"/>
                </a:cubicBezTo>
                <a:lnTo>
                  <a:pt x="663648" y="576234"/>
                </a:lnTo>
                <a:lnTo>
                  <a:pt x="663574" y="577024"/>
                </a:lnTo>
                <a:lnTo>
                  <a:pt x="664233" y="583561"/>
                </a:lnTo>
                <a:cubicBezTo>
                  <a:pt x="666839" y="596294"/>
                  <a:pt x="676867" y="606322"/>
                  <a:pt x="689600" y="608928"/>
                </a:cubicBezTo>
                <a:lnTo>
                  <a:pt x="689718" y="608940"/>
                </a:lnTo>
                <a:lnTo>
                  <a:pt x="702621" y="608940"/>
                </a:lnTo>
                <a:lnTo>
                  <a:pt x="887067" y="608940"/>
                </a:lnTo>
                <a:lnTo>
                  <a:pt x="887068" y="608940"/>
                </a:lnTo>
                <a:lnTo>
                  <a:pt x="899969" y="608940"/>
                </a:lnTo>
                <a:lnTo>
                  <a:pt x="900089" y="608928"/>
                </a:lnTo>
                <a:cubicBezTo>
                  <a:pt x="910699" y="606757"/>
                  <a:pt x="919431" y="599431"/>
                  <a:pt x="923555" y="589681"/>
                </a:cubicBezTo>
                <a:lnTo>
                  <a:pt x="924532" y="586533"/>
                </a:lnTo>
                <a:lnTo>
                  <a:pt x="925519" y="575886"/>
                </a:lnTo>
                <a:lnTo>
                  <a:pt x="925831" y="575886"/>
                </a:lnTo>
                <a:lnTo>
                  <a:pt x="925831" y="572515"/>
                </a:lnTo>
                <a:lnTo>
                  <a:pt x="933801" y="486470"/>
                </a:lnTo>
                <a:lnTo>
                  <a:pt x="817697" y="486470"/>
                </a:lnTo>
                <a:lnTo>
                  <a:pt x="812399" y="543661"/>
                </a:lnTo>
                <a:lnTo>
                  <a:pt x="782356" y="543661"/>
                </a:lnTo>
                <a:lnTo>
                  <a:pt x="795564" y="401073"/>
                </a:lnTo>
                <a:lnTo>
                  <a:pt x="825607" y="401073"/>
                </a:lnTo>
                <a:lnTo>
                  <a:pt x="820739" y="453631"/>
                </a:lnTo>
                <a:lnTo>
                  <a:pt x="936843" y="453631"/>
                </a:lnTo>
                <a:lnTo>
                  <a:pt x="943979" y="376599"/>
                </a:lnTo>
                <a:lnTo>
                  <a:pt x="944919" y="366447"/>
                </a:lnTo>
                <a:lnTo>
                  <a:pt x="944462" y="361905"/>
                </a:lnTo>
                <a:cubicBezTo>
                  <a:pt x="941856" y="349173"/>
                  <a:pt x="931827" y="339144"/>
                  <a:pt x="919095" y="336538"/>
                </a:cubicBezTo>
                <a:lnTo>
                  <a:pt x="916825" y="336310"/>
                </a:lnTo>
                <a:lnTo>
                  <a:pt x="908224" y="336310"/>
                </a:lnTo>
                <a:close/>
                <a:moveTo>
                  <a:pt x="1818985" y="336280"/>
                </a:moveTo>
                <a:lnTo>
                  <a:pt x="1703832" y="336294"/>
                </a:lnTo>
                <a:lnTo>
                  <a:pt x="1692459" y="460889"/>
                </a:lnTo>
                <a:lnTo>
                  <a:pt x="1663495" y="460456"/>
                </a:lnTo>
                <a:lnTo>
                  <a:pt x="1674348" y="336296"/>
                </a:lnTo>
                <a:lnTo>
                  <a:pt x="1557673" y="336310"/>
                </a:lnTo>
                <a:lnTo>
                  <a:pt x="1545183" y="477578"/>
                </a:lnTo>
                <a:lnTo>
                  <a:pt x="1544330" y="487217"/>
                </a:lnTo>
                <a:lnTo>
                  <a:pt x="1544805" y="491932"/>
                </a:lnTo>
                <a:cubicBezTo>
                  <a:pt x="1546977" y="502542"/>
                  <a:pt x="1554303" y="511275"/>
                  <a:pt x="1564053" y="515399"/>
                </a:cubicBezTo>
                <a:lnTo>
                  <a:pt x="1569502" y="517091"/>
                </a:lnTo>
                <a:lnTo>
                  <a:pt x="1583887" y="517120"/>
                </a:lnTo>
                <a:lnTo>
                  <a:pt x="1686932" y="517328"/>
                </a:lnTo>
                <a:lnTo>
                  <a:pt x="1684804" y="544527"/>
                </a:lnTo>
                <a:lnTo>
                  <a:pt x="1539278" y="544347"/>
                </a:lnTo>
                <a:lnTo>
                  <a:pt x="1533567" y="608940"/>
                </a:lnTo>
                <a:lnTo>
                  <a:pt x="1759039" y="608940"/>
                </a:lnTo>
                <a:lnTo>
                  <a:pt x="1759040" y="608940"/>
                </a:lnTo>
                <a:lnTo>
                  <a:pt x="1771942" y="608940"/>
                </a:lnTo>
                <a:lnTo>
                  <a:pt x="1772060" y="608928"/>
                </a:lnTo>
                <a:cubicBezTo>
                  <a:pt x="1782671" y="606757"/>
                  <a:pt x="1791403" y="599431"/>
                  <a:pt x="1795528" y="589681"/>
                </a:cubicBezTo>
                <a:lnTo>
                  <a:pt x="1796504" y="586533"/>
                </a:lnTo>
                <a:lnTo>
                  <a:pt x="1797490" y="575886"/>
                </a:lnTo>
                <a:lnTo>
                  <a:pt x="1797803" y="575886"/>
                </a:lnTo>
                <a:lnTo>
                  <a:pt x="1797803" y="572515"/>
                </a:lnTo>
                <a:close/>
                <a:moveTo>
                  <a:pt x="1528570" y="336280"/>
                </a:moveTo>
                <a:lnTo>
                  <a:pt x="1267258" y="336310"/>
                </a:lnTo>
                <a:lnTo>
                  <a:pt x="1243152" y="608940"/>
                </a:lnTo>
                <a:lnTo>
                  <a:pt x="1468623" y="608940"/>
                </a:lnTo>
                <a:lnTo>
                  <a:pt x="1468624" y="608940"/>
                </a:lnTo>
                <a:lnTo>
                  <a:pt x="1481527" y="608940"/>
                </a:lnTo>
                <a:lnTo>
                  <a:pt x="1481645" y="608928"/>
                </a:lnTo>
                <a:cubicBezTo>
                  <a:pt x="1492255" y="606757"/>
                  <a:pt x="1500988" y="599431"/>
                  <a:pt x="1505112" y="589681"/>
                </a:cubicBezTo>
                <a:lnTo>
                  <a:pt x="1506089" y="586533"/>
                </a:lnTo>
                <a:lnTo>
                  <a:pt x="1507075" y="575886"/>
                </a:lnTo>
                <a:lnTo>
                  <a:pt x="1507387" y="575886"/>
                </a:lnTo>
                <a:lnTo>
                  <a:pt x="1507387" y="572515"/>
                </a:lnTo>
                <a:lnTo>
                  <a:pt x="1513926" y="501930"/>
                </a:lnTo>
                <a:lnTo>
                  <a:pt x="1514182" y="501930"/>
                </a:lnTo>
                <a:lnTo>
                  <a:pt x="1517312" y="468143"/>
                </a:lnTo>
                <a:lnTo>
                  <a:pt x="1518253" y="457991"/>
                </a:lnTo>
                <a:lnTo>
                  <a:pt x="1517795" y="453449"/>
                </a:lnTo>
                <a:cubicBezTo>
                  <a:pt x="1515189" y="440716"/>
                  <a:pt x="1505161" y="430688"/>
                  <a:pt x="1492428" y="428082"/>
                </a:cubicBezTo>
                <a:lnTo>
                  <a:pt x="1490159" y="427853"/>
                </a:lnTo>
                <a:lnTo>
                  <a:pt x="1481557" y="427853"/>
                </a:lnTo>
                <a:lnTo>
                  <a:pt x="1374802" y="427853"/>
                </a:lnTo>
                <a:lnTo>
                  <a:pt x="1377120" y="401073"/>
                </a:lnTo>
                <a:lnTo>
                  <a:pt x="1523169" y="400740"/>
                </a:lnTo>
                <a:close/>
                <a:moveTo>
                  <a:pt x="1848535" y="335659"/>
                </a:moveTo>
                <a:lnTo>
                  <a:pt x="1832109" y="524134"/>
                </a:lnTo>
                <a:lnTo>
                  <a:pt x="1824724" y="608874"/>
                </a:lnTo>
                <a:lnTo>
                  <a:pt x="1940556" y="608940"/>
                </a:lnTo>
                <a:lnTo>
                  <a:pt x="1947847" y="524134"/>
                </a:lnTo>
                <a:lnTo>
                  <a:pt x="2057502" y="524134"/>
                </a:lnTo>
                <a:lnTo>
                  <a:pt x="2057503" y="524134"/>
                </a:lnTo>
                <a:lnTo>
                  <a:pt x="2070416" y="524134"/>
                </a:lnTo>
                <a:lnTo>
                  <a:pt x="2070534" y="524121"/>
                </a:lnTo>
                <a:cubicBezTo>
                  <a:pt x="2081154" y="521871"/>
                  <a:pt x="2089895" y="514279"/>
                  <a:pt x="2094022" y="504174"/>
                </a:cubicBezTo>
                <a:lnTo>
                  <a:pt x="2095000" y="500912"/>
                </a:lnTo>
                <a:lnTo>
                  <a:pt x="2095987" y="489878"/>
                </a:lnTo>
                <a:lnTo>
                  <a:pt x="2096299" y="489878"/>
                </a:lnTo>
                <a:lnTo>
                  <a:pt x="2096299" y="486384"/>
                </a:lnTo>
                <a:lnTo>
                  <a:pt x="2102845" y="413232"/>
                </a:lnTo>
                <a:lnTo>
                  <a:pt x="2103101" y="413232"/>
                </a:lnTo>
                <a:lnTo>
                  <a:pt x="2104495" y="397641"/>
                </a:lnTo>
                <a:lnTo>
                  <a:pt x="2104496" y="397641"/>
                </a:lnTo>
                <a:lnTo>
                  <a:pt x="2106233" y="378216"/>
                </a:lnTo>
                <a:lnTo>
                  <a:pt x="2107174" y="367696"/>
                </a:lnTo>
                <a:lnTo>
                  <a:pt x="2106716" y="362989"/>
                </a:lnTo>
                <a:cubicBezTo>
                  <a:pt x="2104109" y="349793"/>
                  <a:pt x="2094071" y="339400"/>
                  <a:pt x="2081327" y="336700"/>
                </a:cubicBezTo>
                <a:lnTo>
                  <a:pt x="2079056" y="336462"/>
                </a:lnTo>
                <a:lnTo>
                  <a:pt x="2070447" y="336462"/>
                </a:lnTo>
                <a:lnTo>
                  <a:pt x="1963600" y="336462"/>
                </a:lnTo>
                <a:lnTo>
                  <a:pt x="1963666" y="335659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rgbClr val="77E2C3"/>
              </a:gs>
            </a:gsLst>
            <a:lin ang="13500000" scaled="1"/>
            <a:tileRect/>
          </a:gradFill>
        </p:spPr>
        <p:txBody>
          <a:bodyPr wrap="square">
            <a:noAutofit/>
          </a:bodyPr>
          <a:lstStyle/>
          <a:p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4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8">
            <a:extLst>
              <a:ext uri="{FF2B5EF4-FFF2-40B4-BE49-F238E27FC236}">
                <a16:creationId xmlns:a16="http://schemas.microsoft.com/office/drawing/2014/main" id="{F70E8B82-F545-96EA-ADD4-F000BB339E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628" y="884847"/>
            <a:ext cx="5238396" cy="1093422"/>
          </a:xfrm>
        </p:spPr>
        <p:txBody>
          <a:bodyPr vert="horz"/>
          <a:lstStyle>
            <a:lvl1pPr marL="0" algn="l" defTabSz="77898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ru-RU" sz="4000" b="1" i="0" kern="1200" dirty="0">
                <a:solidFill>
                  <a:srgbClr val="00313C"/>
                </a:solidFill>
                <a:latin typeface="Arial" panose="020B0604020202020204" pitchFamily="34" charset="0"/>
                <a:ea typeface="Roboto SemiBold" pitchFamily="34" charset="-122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в 2 строки</a:t>
            </a:r>
          </a:p>
        </p:txBody>
      </p:sp>
      <p:sp>
        <p:nvSpPr>
          <p:cNvPr id="5" name="Текст 7">
            <a:extLst>
              <a:ext uri="{FF2B5EF4-FFF2-40B4-BE49-F238E27FC236}">
                <a16:creationId xmlns:a16="http://schemas.microsoft.com/office/drawing/2014/main" id="{ACACEC16-1EB2-CBB7-0A2C-E6D2E4B242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5628" y="2172433"/>
            <a:ext cx="5227379" cy="276999"/>
          </a:xfrm>
        </p:spPr>
        <p:txBody>
          <a:bodyPr>
            <a:spAutoFit/>
          </a:bodyPr>
          <a:lstStyle>
            <a:lvl1pPr>
              <a:defRPr lang="ru-RU" sz="1800" b="0" i="0" kern="1200" dirty="0">
                <a:solidFill>
                  <a:schemeClr val="tx1"/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</a:lstStyle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/>
              <a:t>Подзаголовок (заполняется по необходимости)</a:t>
            </a:r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id="{EFFA004B-9A07-3012-A82D-32DF13AD03E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1241" y="3808655"/>
            <a:ext cx="3920759" cy="384721"/>
          </a:xfrm>
        </p:spPr>
        <p:txBody>
          <a:bodyPr>
            <a:spAutoFit/>
          </a:bodyPr>
          <a:lstStyle>
            <a:lvl2pPr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marL="0" lvl="1" indent="0" algn="l" defTabSz="778986" rtl="0" eaLnBrk="1" fontAlgn="base" latinLnBrk="0" hangingPunct="1">
              <a:lnSpc>
                <a:spcPts val="148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ru-RU" dirty="0"/>
              <a:t>Имя Фамилия,</a:t>
            </a:r>
          </a:p>
          <a:p>
            <a:pPr marL="0" lvl="1" indent="0" algn="l" defTabSz="778986" rtl="0" eaLnBrk="1" fontAlgn="base" latinLnBrk="0" hangingPunct="1">
              <a:lnSpc>
                <a:spcPts val="148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ru-RU" dirty="0"/>
              <a:t>Должность</a:t>
            </a:r>
          </a:p>
        </p:txBody>
      </p:sp>
      <p:sp>
        <p:nvSpPr>
          <p:cNvPr id="15" name="Текст 12">
            <a:extLst>
              <a:ext uri="{FF2B5EF4-FFF2-40B4-BE49-F238E27FC236}">
                <a16:creationId xmlns:a16="http://schemas.microsoft.com/office/drawing/2014/main" id="{799450D4-10B7-793C-DED1-58FA7BF16EC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5628" y="4686179"/>
            <a:ext cx="3592522" cy="262059"/>
          </a:xfrm>
          <a:prstGeom prst="rect">
            <a:avLst/>
          </a:prstGeom>
          <a:effectLst/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0" baseline="0">
                <a:solidFill>
                  <a:schemeClr val="tx2"/>
                </a:solidFill>
                <a:effectLst/>
              </a:defRPr>
            </a:lvl1pPr>
            <a:lvl3pPr>
              <a:defRPr lang="ru-RU" sz="1400" b="0" i="0" kern="1200" dirty="0">
                <a:solidFill>
                  <a:schemeClr val="accent1"/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3pPr>
          </a:lstStyle>
          <a:p>
            <a:pPr marL="0" lvl="2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ru-RU" dirty="0"/>
              <a:t>Месяц/Год</a:t>
            </a:r>
          </a:p>
        </p:txBody>
      </p:sp>
    </p:spTree>
    <p:extLst>
      <p:ext uri="{BB962C8B-B14F-4D97-AF65-F5344CB8AC3E}">
        <p14:creationId xmlns:p14="http://schemas.microsoft.com/office/powerpoint/2010/main" val="24148505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DFA3E263-1ECB-5546-D808-6C98B283C5F8}"/>
              </a:ext>
            </a:extLst>
          </p:cNvPr>
          <p:cNvSpPr/>
          <p:nvPr userDrawn="1"/>
        </p:nvSpPr>
        <p:spPr bwMode="auto">
          <a:xfrm>
            <a:off x="323527" y="2717122"/>
            <a:ext cx="5543873" cy="1819049"/>
          </a:xfrm>
          <a:prstGeom prst="roundRect">
            <a:avLst>
              <a:gd name="adj" fmla="val 10177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6C12BD9A-FED6-F279-0F2C-A40DFF351076}"/>
              </a:ext>
            </a:extLst>
          </p:cNvPr>
          <p:cNvSpPr/>
          <p:nvPr userDrawn="1"/>
        </p:nvSpPr>
        <p:spPr bwMode="auto">
          <a:xfrm>
            <a:off x="6132463" y="1164771"/>
            <a:ext cx="2664000" cy="3371382"/>
          </a:xfrm>
          <a:prstGeom prst="roundRect">
            <a:avLst>
              <a:gd name="adj" fmla="val 7538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2EC1C4D7-C124-92A6-FD44-18BE6F455CD5}"/>
              </a:ext>
            </a:extLst>
          </p:cNvPr>
          <p:cNvSpPr/>
          <p:nvPr userDrawn="1"/>
        </p:nvSpPr>
        <p:spPr bwMode="auto">
          <a:xfrm>
            <a:off x="323528" y="1131590"/>
            <a:ext cx="2660400" cy="1443600"/>
          </a:xfrm>
          <a:prstGeom prst="roundRect">
            <a:avLst>
              <a:gd name="adj" fmla="val 1360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8" name="Скругленный прямоугольник 17">
            <a:extLst>
              <a:ext uri="{FF2B5EF4-FFF2-40B4-BE49-F238E27FC236}">
                <a16:creationId xmlns:a16="http://schemas.microsoft.com/office/drawing/2014/main" id="{BF84DB07-61E8-048A-E092-9F73CE94727F}"/>
              </a:ext>
            </a:extLst>
          </p:cNvPr>
          <p:cNvSpPr/>
          <p:nvPr userDrawn="1"/>
        </p:nvSpPr>
        <p:spPr bwMode="auto">
          <a:xfrm>
            <a:off x="3232424" y="1131590"/>
            <a:ext cx="2664000" cy="1443600"/>
          </a:xfrm>
          <a:prstGeom prst="roundRect">
            <a:avLst>
              <a:gd name="adj" fmla="val 1360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в 2 строки для слайда с </a:t>
            </a:r>
            <a:r>
              <a:rPr lang="ru-RU" dirty="0" err="1">
                <a:effectLst/>
              </a:rPr>
              <a:t>хайлайтами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3" name="Текст 35">
            <a:extLst>
              <a:ext uri="{FF2B5EF4-FFF2-40B4-BE49-F238E27FC236}">
                <a16:creationId xmlns:a16="http://schemas.microsoft.com/office/drawing/2014/main" id="{0D3F6312-4B6A-50E8-B909-A867018B25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97001" y="2717800"/>
            <a:ext cx="2151063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заголовков придают слайдам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слегка журнальный вид.</a:t>
            </a:r>
            <a:endParaRPr lang="ru-RU" dirty="0"/>
          </a:p>
        </p:txBody>
      </p:sp>
      <p:sp>
        <p:nvSpPr>
          <p:cNvPr id="12" name="Текст 35">
            <a:extLst>
              <a:ext uri="{FF2B5EF4-FFF2-40B4-BE49-F238E27FC236}">
                <a16:creationId xmlns:a16="http://schemas.microsoft.com/office/drawing/2014/main" id="{A3359C25-0177-0EAC-25D6-13D33A953F2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6684" y="1437290"/>
            <a:ext cx="2151063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заголовков придают слайдам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слегка журнальный вид.</a:t>
            </a:r>
            <a:endParaRPr lang="ru-RU" dirty="0"/>
          </a:p>
        </p:txBody>
      </p:sp>
      <p:sp>
        <p:nvSpPr>
          <p:cNvPr id="13" name="Текст 35">
            <a:extLst>
              <a:ext uri="{FF2B5EF4-FFF2-40B4-BE49-F238E27FC236}">
                <a16:creationId xmlns:a16="http://schemas.microsoft.com/office/drawing/2014/main" id="{8A62D965-E425-AA50-98AE-F745CA49DC8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11570" y="1435101"/>
            <a:ext cx="2151063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заголовков придают слайдам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слегка журнальный вид.</a:t>
            </a:r>
            <a:endParaRPr lang="ru-RU" dirty="0"/>
          </a:p>
        </p:txBody>
      </p:sp>
      <p:sp>
        <p:nvSpPr>
          <p:cNvPr id="17" name="Рисунок 15">
            <a:extLst>
              <a:ext uri="{FF2B5EF4-FFF2-40B4-BE49-F238E27FC236}">
                <a16:creationId xmlns:a16="http://schemas.microsoft.com/office/drawing/2014/main" id="{8E9C17B2-FDC1-18F7-E52C-4B5B86E9754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34100" y="1130300"/>
            <a:ext cx="2664000" cy="1443600"/>
          </a:xfrm>
          <a:prstGeom prst="roundRect">
            <a:avLst>
              <a:gd name="adj" fmla="val 9705"/>
            </a:avLst>
          </a:prstGeo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Рисунок 15">
            <a:extLst>
              <a:ext uri="{FF2B5EF4-FFF2-40B4-BE49-F238E27FC236}">
                <a16:creationId xmlns:a16="http://schemas.microsoft.com/office/drawing/2014/main" id="{BA2A4073-B14C-2C88-3047-A42E6B1D1B8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3527" y="2712823"/>
            <a:ext cx="2660400" cy="1811900"/>
          </a:xfrm>
          <a:prstGeom prst="roundRect">
            <a:avLst>
              <a:gd name="adj" fmla="val 10000"/>
            </a:avLst>
          </a:prstGeo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6" name="Текст 35">
            <a:extLst>
              <a:ext uri="{FF2B5EF4-FFF2-40B4-BE49-F238E27FC236}">
                <a16:creationId xmlns:a16="http://schemas.microsoft.com/office/drawing/2014/main" id="{C03DE2B4-0992-621D-CE3A-2A5B70228C6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91880" y="2953464"/>
            <a:ext cx="2151063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заголовков придают слайдам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слегка 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8389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Т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6">
            <a:extLst>
              <a:ext uri="{FF2B5EF4-FFF2-40B4-BE49-F238E27FC236}">
                <a16:creationId xmlns:a16="http://schemas.microsoft.com/office/drawing/2014/main" id="{2FBDA5E0-CA1A-65F1-ED17-C10F1491ABD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1072604 w 9144000"/>
              <a:gd name="connsiteY0" fmla="*/ 582669 h 5143500"/>
              <a:gd name="connsiteX1" fmla="*/ 1072584 w 9144000"/>
              <a:gd name="connsiteY1" fmla="*/ 582859 h 5143500"/>
              <a:gd name="connsiteX2" fmla="*/ 1072603 w 9144000"/>
              <a:gd name="connsiteY2" fmla="*/ 582669 h 5143500"/>
              <a:gd name="connsiteX3" fmla="*/ 1369198 w 9144000"/>
              <a:gd name="connsiteY3" fmla="*/ 492617 h 5143500"/>
              <a:gd name="connsiteX4" fmla="*/ 1398683 w 9144000"/>
              <a:gd name="connsiteY4" fmla="*/ 492617 h 5143500"/>
              <a:gd name="connsiteX5" fmla="*/ 1393955 w 9144000"/>
              <a:gd name="connsiteY5" fmla="*/ 543661 h 5143500"/>
              <a:gd name="connsiteX6" fmla="*/ 1364780 w 9144000"/>
              <a:gd name="connsiteY6" fmla="*/ 543661 h 5143500"/>
              <a:gd name="connsiteX7" fmla="*/ 1959479 w 9144000"/>
              <a:gd name="connsiteY7" fmla="*/ 399656 h 5143500"/>
              <a:gd name="connsiteX8" fmla="*/ 1988417 w 9144000"/>
              <a:gd name="connsiteY8" fmla="*/ 399981 h 5143500"/>
              <a:gd name="connsiteX9" fmla="*/ 1981589 w 9144000"/>
              <a:gd name="connsiteY9" fmla="*/ 468263 h 5143500"/>
              <a:gd name="connsiteX10" fmla="*/ 1952651 w 9144000"/>
              <a:gd name="connsiteY10" fmla="*/ 468263 h 5143500"/>
              <a:gd name="connsiteX11" fmla="*/ 1114443 w 9144000"/>
              <a:gd name="connsiteY11" fmla="*/ 362788 h 5143500"/>
              <a:gd name="connsiteX12" fmla="*/ 1114210 w 9144000"/>
              <a:gd name="connsiteY12" fmla="*/ 365089 h 5143500"/>
              <a:gd name="connsiteX13" fmla="*/ 1114210 w 9144000"/>
              <a:gd name="connsiteY13" fmla="*/ 365088 h 5143500"/>
              <a:gd name="connsiteX14" fmla="*/ 976557 w 9144000"/>
              <a:gd name="connsiteY14" fmla="*/ 336310 h 5143500"/>
              <a:gd name="connsiteX15" fmla="*/ 952100 w 9144000"/>
              <a:gd name="connsiteY15" fmla="*/ 608940 h 5143500"/>
              <a:gd name="connsiteX16" fmla="*/ 986960 w 9144000"/>
              <a:gd name="connsiteY16" fmla="*/ 608940 h 5143500"/>
              <a:gd name="connsiteX17" fmla="*/ 1040642 w 9144000"/>
              <a:gd name="connsiteY17" fmla="*/ 608940 h 5143500"/>
              <a:gd name="connsiteX18" fmla="*/ 1044511 w 9144000"/>
              <a:gd name="connsiteY18" fmla="*/ 608940 h 5143500"/>
              <a:gd name="connsiteX19" fmla="*/ 1044511 w 9144000"/>
              <a:gd name="connsiteY19" fmla="*/ 608550 h 5143500"/>
              <a:gd name="connsiteX20" fmla="*/ 1047212 w 9144000"/>
              <a:gd name="connsiteY20" fmla="*/ 608278 h 5143500"/>
              <a:gd name="connsiteX21" fmla="*/ 1063693 w 9144000"/>
              <a:gd name="connsiteY21" fmla="*/ 599393 h 5143500"/>
              <a:gd name="connsiteX22" fmla="*/ 1069616 w 9144000"/>
              <a:gd name="connsiteY22" fmla="*/ 590607 h 5143500"/>
              <a:gd name="connsiteX23" fmla="*/ 1070680 w 9144000"/>
              <a:gd name="connsiteY23" fmla="*/ 589030 h 5143500"/>
              <a:gd name="connsiteX24" fmla="*/ 1072579 w 9144000"/>
              <a:gd name="connsiteY24" fmla="*/ 582912 h 5143500"/>
              <a:gd name="connsiteX25" fmla="*/ 1072584 w 9144000"/>
              <a:gd name="connsiteY25" fmla="*/ 582859 h 5143500"/>
              <a:gd name="connsiteX26" fmla="*/ 1109730 w 9144000"/>
              <a:gd name="connsiteY26" fmla="*/ 485878 h 5143500"/>
              <a:gd name="connsiteX27" fmla="*/ 1097365 w 9144000"/>
              <a:gd name="connsiteY27" fmla="*/ 608940 h 5143500"/>
              <a:gd name="connsiteX28" fmla="*/ 1213696 w 9144000"/>
              <a:gd name="connsiteY28" fmla="*/ 608940 h 5143500"/>
              <a:gd name="connsiteX29" fmla="*/ 1238154 w 9144000"/>
              <a:gd name="connsiteY29" fmla="*/ 336310 h 5143500"/>
              <a:gd name="connsiteX30" fmla="*/ 1205981 w 9144000"/>
              <a:gd name="connsiteY30" fmla="*/ 336310 h 5143500"/>
              <a:gd name="connsiteX31" fmla="*/ 1146424 w 9144000"/>
              <a:gd name="connsiteY31" fmla="*/ 336310 h 5143500"/>
              <a:gd name="connsiteX32" fmla="*/ 1142381 w 9144000"/>
              <a:gd name="connsiteY32" fmla="*/ 336310 h 5143500"/>
              <a:gd name="connsiteX33" fmla="*/ 1142381 w 9144000"/>
              <a:gd name="connsiteY33" fmla="*/ 336717 h 5143500"/>
              <a:gd name="connsiteX34" fmla="*/ 1139854 w 9144000"/>
              <a:gd name="connsiteY34" fmla="*/ 336972 h 5143500"/>
              <a:gd name="connsiteX35" fmla="*/ 1123374 w 9144000"/>
              <a:gd name="connsiteY35" fmla="*/ 345858 h 5143500"/>
              <a:gd name="connsiteX36" fmla="*/ 1116745 w 9144000"/>
              <a:gd name="connsiteY36" fmla="*/ 355689 h 5143500"/>
              <a:gd name="connsiteX37" fmla="*/ 1116388 w 9144000"/>
              <a:gd name="connsiteY37" fmla="*/ 356220 h 5143500"/>
              <a:gd name="connsiteX38" fmla="*/ 1114488 w 9144000"/>
              <a:gd name="connsiteY38" fmla="*/ 362339 h 5143500"/>
              <a:gd name="connsiteX39" fmla="*/ 1114443 w 9144000"/>
              <a:gd name="connsiteY39" fmla="*/ 362788 h 5143500"/>
              <a:gd name="connsiteX40" fmla="*/ 1077630 w 9144000"/>
              <a:gd name="connsiteY40" fmla="*/ 476280 h 5143500"/>
              <a:gd name="connsiteX41" fmla="*/ 1092415 w 9144000"/>
              <a:gd name="connsiteY41" fmla="*/ 336310 h 5143500"/>
              <a:gd name="connsiteX42" fmla="*/ 715068 w 9144000"/>
              <a:gd name="connsiteY42" fmla="*/ 336310 h 5143500"/>
              <a:gd name="connsiteX43" fmla="*/ 685031 w 9144000"/>
              <a:gd name="connsiteY43" fmla="*/ 356220 h 5143500"/>
              <a:gd name="connsiteX44" fmla="*/ 683600 w 9144000"/>
              <a:gd name="connsiteY44" fmla="*/ 360829 h 5143500"/>
              <a:gd name="connsiteX45" fmla="*/ 682668 w 9144000"/>
              <a:gd name="connsiteY45" fmla="*/ 370886 h 5143500"/>
              <a:gd name="connsiteX46" fmla="*/ 682669 w 9144000"/>
              <a:gd name="connsiteY46" fmla="*/ 370887 h 5143500"/>
              <a:gd name="connsiteX47" fmla="*/ 663648 w 9144000"/>
              <a:gd name="connsiteY47" fmla="*/ 576234 h 5143500"/>
              <a:gd name="connsiteX48" fmla="*/ 663574 w 9144000"/>
              <a:gd name="connsiteY48" fmla="*/ 577024 h 5143500"/>
              <a:gd name="connsiteX49" fmla="*/ 664233 w 9144000"/>
              <a:gd name="connsiteY49" fmla="*/ 583561 h 5143500"/>
              <a:gd name="connsiteX50" fmla="*/ 689600 w 9144000"/>
              <a:gd name="connsiteY50" fmla="*/ 608928 h 5143500"/>
              <a:gd name="connsiteX51" fmla="*/ 689718 w 9144000"/>
              <a:gd name="connsiteY51" fmla="*/ 608940 h 5143500"/>
              <a:gd name="connsiteX52" fmla="*/ 702621 w 9144000"/>
              <a:gd name="connsiteY52" fmla="*/ 608940 h 5143500"/>
              <a:gd name="connsiteX53" fmla="*/ 887067 w 9144000"/>
              <a:gd name="connsiteY53" fmla="*/ 608940 h 5143500"/>
              <a:gd name="connsiteX54" fmla="*/ 887068 w 9144000"/>
              <a:gd name="connsiteY54" fmla="*/ 608940 h 5143500"/>
              <a:gd name="connsiteX55" fmla="*/ 899969 w 9144000"/>
              <a:gd name="connsiteY55" fmla="*/ 608940 h 5143500"/>
              <a:gd name="connsiteX56" fmla="*/ 900089 w 9144000"/>
              <a:gd name="connsiteY56" fmla="*/ 608928 h 5143500"/>
              <a:gd name="connsiteX57" fmla="*/ 923555 w 9144000"/>
              <a:gd name="connsiteY57" fmla="*/ 589681 h 5143500"/>
              <a:gd name="connsiteX58" fmla="*/ 924532 w 9144000"/>
              <a:gd name="connsiteY58" fmla="*/ 586533 h 5143500"/>
              <a:gd name="connsiteX59" fmla="*/ 925519 w 9144000"/>
              <a:gd name="connsiteY59" fmla="*/ 575886 h 5143500"/>
              <a:gd name="connsiteX60" fmla="*/ 925831 w 9144000"/>
              <a:gd name="connsiteY60" fmla="*/ 575886 h 5143500"/>
              <a:gd name="connsiteX61" fmla="*/ 925831 w 9144000"/>
              <a:gd name="connsiteY61" fmla="*/ 572515 h 5143500"/>
              <a:gd name="connsiteX62" fmla="*/ 933801 w 9144000"/>
              <a:gd name="connsiteY62" fmla="*/ 486470 h 5143500"/>
              <a:gd name="connsiteX63" fmla="*/ 817697 w 9144000"/>
              <a:gd name="connsiteY63" fmla="*/ 486470 h 5143500"/>
              <a:gd name="connsiteX64" fmla="*/ 812399 w 9144000"/>
              <a:gd name="connsiteY64" fmla="*/ 543661 h 5143500"/>
              <a:gd name="connsiteX65" fmla="*/ 782356 w 9144000"/>
              <a:gd name="connsiteY65" fmla="*/ 543661 h 5143500"/>
              <a:gd name="connsiteX66" fmla="*/ 795564 w 9144000"/>
              <a:gd name="connsiteY66" fmla="*/ 401073 h 5143500"/>
              <a:gd name="connsiteX67" fmla="*/ 825607 w 9144000"/>
              <a:gd name="connsiteY67" fmla="*/ 401073 h 5143500"/>
              <a:gd name="connsiteX68" fmla="*/ 820739 w 9144000"/>
              <a:gd name="connsiteY68" fmla="*/ 453631 h 5143500"/>
              <a:gd name="connsiteX69" fmla="*/ 936843 w 9144000"/>
              <a:gd name="connsiteY69" fmla="*/ 453631 h 5143500"/>
              <a:gd name="connsiteX70" fmla="*/ 943979 w 9144000"/>
              <a:gd name="connsiteY70" fmla="*/ 376599 h 5143500"/>
              <a:gd name="connsiteX71" fmla="*/ 944919 w 9144000"/>
              <a:gd name="connsiteY71" fmla="*/ 366447 h 5143500"/>
              <a:gd name="connsiteX72" fmla="*/ 944462 w 9144000"/>
              <a:gd name="connsiteY72" fmla="*/ 361905 h 5143500"/>
              <a:gd name="connsiteX73" fmla="*/ 919095 w 9144000"/>
              <a:gd name="connsiteY73" fmla="*/ 336538 h 5143500"/>
              <a:gd name="connsiteX74" fmla="*/ 916825 w 9144000"/>
              <a:gd name="connsiteY74" fmla="*/ 336310 h 5143500"/>
              <a:gd name="connsiteX75" fmla="*/ 908224 w 9144000"/>
              <a:gd name="connsiteY75" fmla="*/ 336310 h 5143500"/>
              <a:gd name="connsiteX76" fmla="*/ 1818985 w 9144000"/>
              <a:gd name="connsiteY76" fmla="*/ 336280 h 5143500"/>
              <a:gd name="connsiteX77" fmla="*/ 1703832 w 9144000"/>
              <a:gd name="connsiteY77" fmla="*/ 336294 h 5143500"/>
              <a:gd name="connsiteX78" fmla="*/ 1692459 w 9144000"/>
              <a:gd name="connsiteY78" fmla="*/ 460889 h 5143500"/>
              <a:gd name="connsiteX79" fmla="*/ 1663495 w 9144000"/>
              <a:gd name="connsiteY79" fmla="*/ 460456 h 5143500"/>
              <a:gd name="connsiteX80" fmla="*/ 1674348 w 9144000"/>
              <a:gd name="connsiteY80" fmla="*/ 336296 h 5143500"/>
              <a:gd name="connsiteX81" fmla="*/ 1557673 w 9144000"/>
              <a:gd name="connsiteY81" fmla="*/ 336310 h 5143500"/>
              <a:gd name="connsiteX82" fmla="*/ 1545183 w 9144000"/>
              <a:gd name="connsiteY82" fmla="*/ 477578 h 5143500"/>
              <a:gd name="connsiteX83" fmla="*/ 1544330 w 9144000"/>
              <a:gd name="connsiteY83" fmla="*/ 487217 h 5143500"/>
              <a:gd name="connsiteX84" fmla="*/ 1544805 w 9144000"/>
              <a:gd name="connsiteY84" fmla="*/ 491932 h 5143500"/>
              <a:gd name="connsiteX85" fmla="*/ 1564053 w 9144000"/>
              <a:gd name="connsiteY85" fmla="*/ 515399 h 5143500"/>
              <a:gd name="connsiteX86" fmla="*/ 1569502 w 9144000"/>
              <a:gd name="connsiteY86" fmla="*/ 517091 h 5143500"/>
              <a:gd name="connsiteX87" fmla="*/ 1583887 w 9144000"/>
              <a:gd name="connsiteY87" fmla="*/ 517120 h 5143500"/>
              <a:gd name="connsiteX88" fmla="*/ 1686932 w 9144000"/>
              <a:gd name="connsiteY88" fmla="*/ 517328 h 5143500"/>
              <a:gd name="connsiteX89" fmla="*/ 1684804 w 9144000"/>
              <a:gd name="connsiteY89" fmla="*/ 544527 h 5143500"/>
              <a:gd name="connsiteX90" fmla="*/ 1539278 w 9144000"/>
              <a:gd name="connsiteY90" fmla="*/ 544347 h 5143500"/>
              <a:gd name="connsiteX91" fmla="*/ 1533567 w 9144000"/>
              <a:gd name="connsiteY91" fmla="*/ 608940 h 5143500"/>
              <a:gd name="connsiteX92" fmla="*/ 1759039 w 9144000"/>
              <a:gd name="connsiteY92" fmla="*/ 608940 h 5143500"/>
              <a:gd name="connsiteX93" fmla="*/ 1759040 w 9144000"/>
              <a:gd name="connsiteY93" fmla="*/ 608940 h 5143500"/>
              <a:gd name="connsiteX94" fmla="*/ 1771942 w 9144000"/>
              <a:gd name="connsiteY94" fmla="*/ 608940 h 5143500"/>
              <a:gd name="connsiteX95" fmla="*/ 1772060 w 9144000"/>
              <a:gd name="connsiteY95" fmla="*/ 608928 h 5143500"/>
              <a:gd name="connsiteX96" fmla="*/ 1795528 w 9144000"/>
              <a:gd name="connsiteY96" fmla="*/ 589681 h 5143500"/>
              <a:gd name="connsiteX97" fmla="*/ 1796504 w 9144000"/>
              <a:gd name="connsiteY97" fmla="*/ 586533 h 5143500"/>
              <a:gd name="connsiteX98" fmla="*/ 1797490 w 9144000"/>
              <a:gd name="connsiteY98" fmla="*/ 575886 h 5143500"/>
              <a:gd name="connsiteX99" fmla="*/ 1797803 w 9144000"/>
              <a:gd name="connsiteY99" fmla="*/ 575886 h 5143500"/>
              <a:gd name="connsiteX100" fmla="*/ 1797803 w 9144000"/>
              <a:gd name="connsiteY100" fmla="*/ 572515 h 5143500"/>
              <a:gd name="connsiteX101" fmla="*/ 1528570 w 9144000"/>
              <a:gd name="connsiteY101" fmla="*/ 336280 h 5143500"/>
              <a:gd name="connsiteX102" fmla="*/ 1267258 w 9144000"/>
              <a:gd name="connsiteY102" fmla="*/ 336310 h 5143500"/>
              <a:gd name="connsiteX103" fmla="*/ 1243152 w 9144000"/>
              <a:gd name="connsiteY103" fmla="*/ 608940 h 5143500"/>
              <a:gd name="connsiteX104" fmla="*/ 1468623 w 9144000"/>
              <a:gd name="connsiteY104" fmla="*/ 608940 h 5143500"/>
              <a:gd name="connsiteX105" fmla="*/ 1468624 w 9144000"/>
              <a:gd name="connsiteY105" fmla="*/ 608940 h 5143500"/>
              <a:gd name="connsiteX106" fmla="*/ 1481527 w 9144000"/>
              <a:gd name="connsiteY106" fmla="*/ 608940 h 5143500"/>
              <a:gd name="connsiteX107" fmla="*/ 1481645 w 9144000"/>
              <a:gd name="connsiteY107" fmla="*/ 608928 h 5143500"/>
              <a:gd name="connsiteX108" fmla="*/ 1505112 w 9144000"/>
              <a:gd name="connsiteY108" fmla="*/ 589681 h 5143500"/>
              <a:gd name="connsiteX109" fmla="*/ 1506089 w 9144000"/>
              <a:gd name="connsiteY109" fmla="*/ 586533 h 5143500"/>
              <a:gd name="connsiteX110" fmla="*/ 1507075 w 9144000"/>
              <a:gd name="connsiteY110" fmla="*/ 575886 h 5143500"/>
              <a:gd name="connsiteX111" fmla="*/ 1507387 w 9144000"/>
              <a:gd name="connsiteY111" fmla="*/ 575886 h 5143500"/>
              <a:gd name="connsiteX112" fmla="*/ 1507387 w 9144000"/>
              <a:gd name="connsiteY112" fmla="*/ 572515 h 5143500"/>
              <a:gd name="connsiteX113" fmla="*/ 1513926 w 9144000"/>
              <a:gd name="connsiteY113" fmla="*/ 501930 h 5143500"/>
              <a:gd name="connsiteX114" fmla="*/ 1514182 w 9144000"/>
              <a:gd name="connsiteY114" fmla="*/ 501930 h 5143500"/>
              <a:gd name="connsiteX115" fmla="*/ 1517312 w 9144000"/>
              <a:gd name="connsiteY115" fmla="*/ 468143 h 5143500"/>
              <a:gd name="connsiteX116" fmla="*/ 1518253 w 9144000"/>
              <a:gd name="connsiteY116" fmla="*/ 457991 h 5143500"/>
              <a:gd name="connsiteX117" fmla="*/ 1517795 w 9144000"/>
              <a:gd name="connsiteY117" fmla="*/ 453449 h 5143500"/>
              <a:gd name="connsiteX118" fmla="*/ 1492428 w 9144000"/>
              <a:gd name="connsiteY118" fmla="*/ 428082 h 5143500"/>
              <a:gd name="connsiteX119" fmla="*/ 1490159 w 9144000"/>
              <a:gd name="connsiteY119" fmla="*/ 427853 h 5143500"/>
              <a:gd name="connsiteX120" fmla="*/ 1481557 w 9144000"/>
              <a:gd name="connsiteY120" fmla="*/ 427853 h 5143500"/>
              <a:gd name="connsiteX121" fmla="*/ 1374802 w 9144000"/>
              <a:gd name="connsiteY121" fmla="*/ 427853 h 5143500"/>
              <a:gd name="connsiteX122" fmla="*/ 1377120 w 9144000"/>
              <a:gd name="connsiteY122" fmla="*/ 401073 h 5143500"/>
              <a:gd name="connsiteX123" fmla="*/ 1523169 w 9144000"/>
              <a:gd name="connsiteY123" fmla="*/ 400740 h 5143500"/>
              <a:gd name="connsiteX124" fmla="*/ 1848535 w 9144000"/>
              <a:gd name="connsiteY124" fmla="*/ 335659 h 5143500"/>
              <a:gd name="connsiteX125" fmla="*/ 1832109 w 9144000"/>
              <a:gd name="connsiteY125" fmla="*/ 524134 h 5143500"/>
              <a:gd name="connsiteX126" fmla="*/ 1824724 w 9144000"/>
              <a:gd name="connsiteY126" fmla="*/ 608874 h 5143500"/>
              <a:gd name="connsiteX127" fmla="*/ 1940556 w 9144000"/>
              <a:gd name="connsiteY127" fmla="*/ 608940 h 5143500"/>
              <a:gd name="connsiteX128" fmla="*/ 1947847 w 9144000"/>
              <a:gd name="connsiteY128" fmla="*/ 524134 h 5143500"/>
              <a:gd name="connsiteX129" fmla="*/ 2057502 w 9144000"/>
              <a:gd name="connsiteY129" fmla="*/ 524134 h 5143500"/>
              <a:gd name="connsiteX130" fmla="*/ 2057503 w 9144000"/>
              <a:gd name="connsiteY130" fmla="*/ 524134 h 5143500"/>
              <a:gd name="connsiteX131" fmla="*/ 2070416 w 9144000"/>
              <a:gd name="connsiteY131" fmla="*/ 524134 h 5143500"/>
              <a:gd name="connsiteX132" fmla="*/ 2070534 w 9144000"/>
              <a:gd name="connsiteY132" fmla="*/ 524121 h 5143500"/>
              <a:gd name="connsiteX133" fmla="*/ 2094022 w 9144000"/>
              <a:gd name="connsiteY133" fmla="*/ 504174 h 5143500"/>
              <a:gd name="connsiteX134" fmla="*/ 2095000 w 9144000"/>
              <a:gd name="connsiteY134" fmla="*/ 500912 h 5143500"/>
              <a:gd name="connsiteX135" fmla="*/ 2095987 w 9144000"/>
              <a:gd name="connsiteY135" fmla="*/ 489878 h 5143500"/>
              <a:gd name="connsiteX136" fmla="*/ 2096299 w 9144000"/>
              <a:gd name="connsiteY136" fmla="*/ 489878 h 5143500"/>
              <a:gd name="connsiteX137" fmla="*/ 2096299 w 9144000"/>
              <a:gd name="connsiteY137" fmla="*/ 486384 h 5143500"/>
              <a:gd name="connsiteX138" fmla="*/ 2102845 w 9144000"/>
              <a:gd name="connsiteY138" fmla="*/ 413232 h 5143500"/>
              <a:gd name="connsiteX139" fmla="*/ 2103101 w 9144000"/>
              <a:gd name="connsiteY139" fmla="*/ 413232 h 5143500"/>
              <a:gd name="connsiteX140" fmla="*/ 2104495 w 9144000"/>
              <a:gd name="connsiteY140" fmla="*/ 397641 h 5143500"/>
              <a:gd name="connsiteX141" fmla="*/ 2104496 w 9144000"/>
              <a:gd name="connsiteY141" fmla="*/ 397641 h 5143500"/>
              <a:gd name="connsiteX142" fmla="*/ 2106233 w 9144000"/>
              <a:gd name="connsiteY142" fmla="*/ 378216 h 5143500"/>
              <a:gd name="connsiteX143" fmla="*/ 2107174 w 9144000"/>
              <a:gd name="connsiteY143" fmla="*/ 367696 h 5143500"/>
              <a:gd name="connsiteX144" fmla="*/ 2106716 w 9144000"/>
              <a:gd name="connsiteY144" fmla="*/ 362989 h 5143500"/>
              <a:gd name="connsiteX145" fmla="*/ 2081327 w 9144000"/>
              <a:gd name="connsiteY145" fmla="*/ 336700 h 5143500"/>
              <a:gd name="connsiteX146" fmla="*/ 2079056 w 9144000"/>
              <a:gd name="connsiteY146" fmla="*/ 336462 h 5143500"/>
              <a:gd name="connsiteX147" fmla="*/ 2070447 w 9144000"/>
              <a:gd name="connsiteY147" fmla="*/ 336462 h 5143500"/>
              <a:gd name="connsiteX148" fmla="*/ 1963600 w 9144000"/>
              <a:gd name="connsiteY148" fmla="*/ 336462 h 5143500"/>
              <a:gd name="connsiteX149" fmla="*/ 1963666 w 9144000"/>
              <a:gd name="connsiteY149" fmla="*/ 335659 h 5143500"/>
              <a:gd name="connsiteX150" fmla="*/ 0 w 9144000"/>
              <a:gd name="connsiteY150" fmla="*/ 0 h 5143500"/>
              <a:gd name="connsiteX151" fmla="*/ 9144000 w 9144000"/>
              <a:gd name="connsiteY151" fmla="*/ 0 h 5143500"/>
              <a:gd name="connsiteX152" fmla="*/ 9144000 w 9144000"/>
              <a:gd name="connsiteY152" fmla="*/ 5143500 h 5143500"/>
              <a:gd name="connsiteX153" fmla="*/ 0 w 9144000"/>
              <a:gd name="connsiteY15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9144000" h="5143500">
                <a:moveTo>
                  <a:pt x="1072604" y="582669"/>
                </a:moveTo>
                <a:lnTo>
                  <a:pt x="1072584" y="582859"/>
                </a:lnTo>
                <a:lnTo>
                  <a:pt x="1072603" y="582669"/>
                </a:lnTo>
                <a:close/>
                <a:moveTo>
                  <a:pt x="1369198" y="492617"/>
                </a:moveTo>
                <a:lnTo>
                  <a:pt x="1398683" y="492617"/>
                </a:lnTo>
                <a:lnTo>
                  <a:pt x="1393955" y="543661"/>
                </a:lnTo>
                <a:lnTo>
                  <a:pt x="1364780" y="543661"/>
                </a:lnTo>
                <a:close/>
                <a:moveTo>
                  <a:pt x="1959479" y="399656"/>
                </a:moveTo>
                <a:lnTo>
                  <a:pt x="1988417" y="399981"/>
                </a:lnTo>
                <a:lnTo>
                  <a:pt x="1981589" y="468263"/>
                </a:lnTo>
                <a:lnTo>
                  <a:pt x="1952651" y="468263"/>
                </a:lnTo>
                <a:close/>
                <a:moveTo>
                  <a:pt x="1114443" y="362788"/>
                </a:moveTo>
                <a:lnTo>
                  <a:pt x="1114210" y="365089"/>
                </a:lnTo>
                <a:lnTo>
                  <a:pt x="1114210" y="365088"/>
                </a:lnTo>
                <a:close/>
                <a:moveTo>
                  <a:pt x="976557" y="336310"/>
                </a:moveTo>
                <a:lnTo>
                  <a:pt x="952100" y="608940"/>
                </a:lnTo>
                <a:lnTo>
                  <a:pt x="986960" y="608940"/>
                </a:lnTo>
                <a:lnTo>
                  <a:pt x="1040642" y="608940"/>
                </a:lnTo>
                <a:lnTo>
                  <a:pt x="1044511" y="608940"/>
                </a:lnTo>
                <a:lnTo>
                  <a:pt x="1044511" y="608550"/>
                </a:lnTo>
                <a:lnTo>
                  <a:pt x="1047212" y="608278"/>
                </a:lnTo>
                <a:cubicBezTo>
                  <a:pt x="1053578" y="606976"/>
                  <a:pt x="1059268" y="603817"/>
                  <a:pt x="1063693" y="599393"/>
                </a:cubicBezTo>
                <a:lnTo>
                  <a:pt x="1069616" y="590607"/>
                </a:lnTo>
                <a:lnTo>
                  <a:pt x="1070680" y="589030"/>
                </a:lnTo>
                <a:cubicBezTo>
                  <a:pt x="1071504" y="587080"/>
                  <a:pt x="1072145" y="585034"/>
                  <a:pt x="1072579" y="582912"/>
                </a:cubicBezTo>
                <a:lnTo>
                  <a:pt x="1072584" y="582859"/>
                </a:lnTo>
                <a:lnTo>
                  <a:pt x="1109730" y="485878"/>
                </a:lnTo>
                <a:lnTo>
                  <a:pt x="1097365" y="608940"/>
                </a:lnTo>
                <a:lnTo>
                  <a:pt x="1213696" y="608940"/>
                </a:lnTo>
                <a:lnTo>
                  <a:pt x="1238154" y="336310"/>
                </a:lnTo>
                <a:lnTo>
                  <a:pt x="1205981" y="336310"/>
                </a:lnTo>
                <a:lnTo>
                  <a:pt x="1146424" y="336310"/>
                </a:lnTo>
                <a:lnTo>
                  <a:pt x="1142381" y="336310"/>
                </a:lnTo>
                <a:lnTo>
                  <a:pt x="1142381" y="336717"/>
                </a:lnTo>
                <a:lnTo>
                  <a:pt x="1139854" y="336972"/>
                </a:lnTo>
                <a:cubicBezTo>
                  <a:pt x="1133488" y="338275"/>
                  <a:pt x="1127798" y="341434"/>
                  <a:pt x="1123374" y="345858"/>
                </a:cubicBezTo>
                <a:lnTo>
                  <a:pt x="1116745" y="355689"/>
                </a:lnTo>
                <a:lnTo>
                  <a:pt x="1116388" y="356220"/>
                </a:lnTo>
                <a:cubicBezTo>
                  <a:pt x="1115562" y="358170"/>
                  <a:pt x="1114922" y="360217"/>
                  <a:pt x="1114488" y="362339"/>
                </a:cubicBezTo>
                <a:lnTo>
                  <a:pt x="1114443" y="362788"/>
                </a:lnTo>
                <a:lnTo>
                  <a:pt x="1077630" y="476280"/>
                </a:lnTo>
                <a:lnTo>
                  <a:pt x="1092415" y="336310"/>
                </a:lnTo>
                <a:close/>
                <a:moveTo>
                  <a:pt x="715068" y="336310"/>
                </a:moveTo>
                <a:cubicBezTo>
                  <a:pt x="701565" y="336310"/>
                  <a:pt x="689980" y="344520"/>
                  <a:pt x="685031" y="356220"/>
                </a:cubicBezTo>
                <a:lnTo>
                  <a:pt x="683600" y="360829"/>
                </a:lnTo>
                <a:lnTo>
                  <a:pt x="682668" y="370886"/>
                </a:lnTo>
                <a:cubicBezTo>
                  <a:pt x="682668" y="370887"/>
                  <a:pt x="682669" y="370887"/>
                  <a:pt x="682669" y="370887"/>
                </a:cubicBezTo>
                <a:lnTo>
                  <a:pt x="663648" y="576234"/>
                </a:lnTo>
                <a:lnTo>
                  <a:pt x="663574" y="577024"/>
                </a:lnTo>
                <a:lnTo>
                  <a:pt x="664233" y="583561"/>
                </a:lnTo>
                <a:cubicBezTo>
                  <a:pt x="666839" y="596294"/>
                  <a:pt x="676867" y="606322"/>
                  <a:pt x="689600" y="608928"/>
                </a:cubicBezTo>
                <a:lnTo>
                  <a:pt x="689718" y="608940"/>
                </a:lnTo>
                <a:lnTo>
                  <a:pt x="702621" y="608940"/>
                </a:lnTo>
                <a:lnTo>
                  <a:pt x="887067" y="608940"/>
                </a:lnTo>
                <a:lnTo>
                  <a:pt x="887068" y="608940"/>
                </a:lnTo>
                <a:lnTo>
                  <a:pt x="899969" y="608940"/>
                </a:lnTo>
                <a:lnTo>
                  <a:pt x="900089" y="608928"/>
                </a:lnTo>
                <a:cubicBezTo>
                  <a:pt x="910699" y="606757"/>
                  <a:pt x="919431" y="599431"/>
                  <a:pt x="923555" y="589681"/>
                </a:cubicBezTo>
                <a:lnTo>
                  <a:pt x="924532" y="586533"/>
                </a:lnTo>
                <a:lnTo>
                  <a:pt x="925519" y="575886"/>
                </a:lnTo>
                <a:lnTo>
                  <a:pt x="925831" y="575886"/>
                </a:lnTo>
                <a:lnTo>
                  <a:pt x="925831" y="572515"/>
                </a:lnTo>
                <a:lnTo>
                  <a:pt x="933801" y="486470"/>
                </a:lnTo>
                <a:lnTo>
                  <a:pt x="817697" y="486470"/>
                </a:lnTo>
                <a:lnTo>
                  <a:pt x="812399" y="543661"/>
                </a:lnTo>
                <a:lnTo>
                  <a:pt x="782356" y="543661"/>
                </a:lnTo>
                <a:lnTo>
                  <a:pt x="795564" y="401073"/>
                </a:lnTo>
                <a:lnTo>
                  <a:pt x="825607" y="401073"/>
                </a:lnTo>
                <a:lnTo>
                  <a:pt x="820739" y="453631"/>
                </a:lnTo>
                <a:lnTo>
                  <a:pt x="936843" y="453631"/>
                </a:lnTo>
                <a:lnTo>
                  <a:pt x="943979" y="376599"/>
                </a:lnTo>
                <a:lnTo>
                  <a:pt x="944919" y="366447"/>
                </a:lnTo>
                <a:lnTo>
                  <a:pt x="944462" y="361905"/>
                </a:lnTo>
                <a:cubicBezTo>
                  <a:pt x="941856" y="349173"/>
                  <a:pt x="931827" y="339144"/>
                  <a:pt x="919095" y="336538"/>
                </a:cubicBezTo>
                <a:lnTo>
                  <a:pt x="916825" y="336310"/>
                </a:lnTo>
                <a:lnTo>
                  <a:pt x="908224" y="336310"/>
                </a:lnTo>
                <a:close/>
                <a:moveTo>
                  <a:pt x="1818985" y="336280"/>
                </a:moveTo>
                <a:lnTo>
                  <a:pt x="1703832" y="336294"/>
                </a:lnTo>
                <a:lnTo>
                  <a:pt x="1692459" y="460889"/>
                </a:lnTo>
                <a:lnTo>
                  <a:pt x="1663495" y="460456"/>
                </a:lnTo>
                <a:lnTo>
                  <a:pt x="1674348" y="336296"/>
                </a:lnTo>
                <a:lnTo>
                  <a:pt x="1557673" y="336310"/>
                </a:lnTo>
                <a:lnTo>
                  <a:pt x="1545183" y="477578"/>
                </a:lnTo>
                <a:lnTo>
                  <a:pt x="1544330" y="487217"/>
                </a:lnTo>
                <a:lnTo>
                  <a:pt x="1544805" y="491932"/>
                </a:lnTo>
                <a:cubicBezTo>
                  <a:pt x="1546977" y="502542"/>
                  <a:pt x="1554303" y="511275"/>
                  <a:pt x="1564053" y="515399"/>
                </a:cubicBezTo>
                <a:lnTo>
                  <a:pt x="1569502" y="517091"/>
                </a:lnTo>
                <a:lnTo>
                  <a:pt x="1583887" y="517120"/>
                </a:lnTo>
                <a:lnTo>
                  <a:pt x="1686932" y="517328"/>
                </a:lnTo>
                <a:lnTo>
                  <a:pt x="1684804" y="544527"/>
                </a:lnTo>
                <a:lnTo>
                  <a:pt x="1539278" y="544347"/>
                </a:lnTo>
                <a:lnTo>
                  <a:pt x="1533567" y="608940"/>
                </a:lnTo>
                <a:lnTo>
                  <a:pt x="1759039" y="608940"/>
                </a:lnTo>
                <a:lnTo>
                  <a:pt x="1759040" y="608940"/>
                </a:lnTo>
                <a:lnTo>
                  <a:pt x="1771942" y="608940"/>
                </a:lnTo>
                <a:lnTo>
                  <a:pt x="1772060" y="608928"/>
                </a:lnTo>
                <a:cubicBezTo>
                  <a:pt x="1782671" y="606757"/>
                  <a:pt x="1791403" y="599431"/>
                  <a:pt x="1795528" y="589681"/>
                </a:cubicBezTo>
                <a:lnTo>
                  <a:pt x="1796504" y="586533"/>
                </a:lnTo>
                <a:lnTo>
                  <a:pt x="1797490" y="575886"/>
                </a:lnTo>
                <a:lnTo>
                  <a:pt x="1797803" y="575886"/>
                </a:lnTo>
                <a:lnTo>
                  <a:pt x="1797803" y="572515"/>
                </a:lnTo>
                <a:close/>
                <a:moveTo>
                  <a:pt x="1528570" y="336280"/>
                </a:moveTo>
                <a:lnTo>
                  <a:pt x="1267258" y="336310"/>
                </a:lnTo>
                <a:lnTo>
                  <a:pt x="1243152" y="608940"/>
                </a:lnTo>
                <a:lnTo>
                  <a:pt x="1468623" y="608940"/>
                </a:lnTo>
                <a:lnTo>
                  <a:pt x="1468624" y="608940"/>
                </a:lnTo>
                <a:lnTo>
                  <a:pt x="1481527" y="608940"/>
                </a:lnTo>
                <a:lnTo>
                  <a:pt x="1481645" y="608928"/>
                </a:lnTo>
                <a:cubicBezTo>
                  <a:pt x="1492255" y="606757"/>
                  <a:pt x="1500988" y="599431"/>
                  <a:pt x="1505112" y="589681"/>
                </a:cubicBezTo>
                <a:lnTo>
                  <a:pt x="1506089" y="586533"/>
                </a:lnTo>
                <a:lnTo>
                  <a:pt x="1507075" y="575886"/>
                </a:lnTo>
                <a:lnTo>
                  <a:pt x="1507387" y="575886"/>
                </a:lnTo>
                <a:lnTo>
                  <a:pt x="1507387" y="572515"/>
                </a:lnTo>
                <a:lnTo>
                  <a:pt x="1513926" y="501930"/>
                </a:lnTo>
                <a:lnTo>
                  <a:pt x="1514182" y="501930"/>
                </a:lnTo>
                <a:lnTo>
                  <a:pt x="1517312" y="468143"/>
                </a:lnTo>
                <a:lnTo>
                  <a:pt x="1518253" y="457991"/>
                </a:lnTo>
                <a:lnTo>
                  <a:pt x="1517795" y="453449"/>
                </a:lnTo>
                <a:cubicBezTo>
                  <a:pt x="1515189" y="440716"/>
                  <a:pt x="1505161" y="430688"/>
                  <a:pt x="1492428" y="428082"/>
                </a:cubicBezTo>
                <a:lnTo>
                  <a:pt x="1490159" y="427853"/>
                </a:lnTo>
                <a:lnTo>
                  <a:pt x="1481557" y="427853"/>
                </a:lnTo>
                <a:lnTo>
                  <a:pt x="1374802" y="427853"/>
                </a:lnTo>
                <a:lnTo>
                  <a:pt x="1377120" y="401073"/>
                </a:lnTo>
                <a:lnTo>
                  <a:pt x="1523169" y="400740"/>
                </a:lnTo>
                <a:close/>
                <a:moveTo>
                  <a:pt x="1848535" y="335659"/>
                </a:moveTo>
                <a:lnTo>
                  <a:pt x="1832109" y="524134"/>
                </a:lnTo>
                <a:lnTo>
                  <a:pt x="1824724" y="608874"/>
                </a:lnTo>
                <a:lnTo>
                  <a:pt x="1940556" y="608940"/>
                </a:lnTo>
                <a:lnTo>
                  <a:pt x="1947847" y="524134"/>
                </a:lnTo>
                <a:lnTo>
                  <a:pt x="2057502" y="524134"/>
                </a:lnTo>
                <a:lnTo>
                  <a:pt x="2057503" y="524134"/>
                </a:lnTo>
                <a:lnTo>
                  <a:pt x="2070416" y="524134"/>
                </a:lnTo>
                <a:lnTo>
                  <a:pt x="2070534" y="524121"/>
                </a:lnTo>
                <a:cubicBezTo>
                  <a:pt x="2081154" y="521871"/>
                  <a:pt x="2089895" y="514279"/>
                  <a:pt x="2094022" y="504174"/>
                </a:cubicBezTo>
                <a:lnTo>
                  <a:pt x="2095000" y="500912"/>
                </a:lnTo>
                <a:lnTo>
                  <a:pt x="2095987" y="489878"/>
                </a:lnTo>
                <a:lnTo>
                  <a:pt x="2096299" y="489878"/>
                </a:lnTo>
                <a:lnTo>
                  <a:pt x="2096299" y="486384"/>
                </a:lnTo>
                <a:lnTo>
                  <a:pt x="2102845" y="413232"/>
                </a:lnTo>
                <a:lnTo>
                  <a:pt x="2103101" y="413232"/>
                </a:lnTo>
                <a:lnTo>
                  <a:pt x="2104495" y="397641"/>
                </a:lnTo>
                <a:lnTo>
                  <a:pt x="2104496" y="397641"/>
                </a:lnTo>
                <a:lnTo>
                  <a:pt x="2106233" y="378216"/>
                </a:lnTo>
                <a:lnTo>
                  <a:pt x="2107174" y="367696"/>
                </a:lnTo>
                <a:lnTo>
                  <a:pt x="2106716" y="362989"/>
                </a:lnTo>
                <a:cubicBezTo>
                  <a:pt x="2104109" y="349793"/>
                  <a:pt x="2094071" y="339400"/>
                  <a:pt x="2081327" y="336700"/>
                </a:cubicBezTo>
                <a:lnTo>
                  <a:pt x="2079056" y="336462"/>
                </a:lnTo>
                <a:lnTo>
                  <a:pt x="2070447" y="336462"/>
                </a:lnTo>
                <a:lnTo>
                  <a:pt x="1963600" y="336462"/>
                </a:lnTo>
                <a:lnTo>
                  <a:pt x="1963666" y="335659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rgbClr val="77E2C3"/>
              </a:gs>
            </a:gsLst>
            <a:lin ang="13500000" scaled="1"/>
            <a:tileRect/>
          </a:gradFill>
        </p:spPr>
        <p:txBody>
          <a:bodyPr wrap="square">
            <a:noAutofit/>
          </a:bodyPr>
          <a:lstStyle/>
          <a:p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6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55628" y="884847"/>
            <a:ext cx="7848000" cy="1093422"/>
          </a:xfrm>
        </p:spPr>
        <p:txBody>
          <a:bodyPr vert="horz"/>
          <a:lstStyle>
            <a:lvl1pPr marL="0" algn="l" defTabSz="77898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ru-RU" sz="4000" b="1" i="0" kern="1200" dirty="0">
                <a:solidFill>
                  <a:srgbClr val="00313C"/>
                </a:solidFill>
                <a:latin typeface="Arial" panose="020B0604020202020204" pitchFamily="34" charset="0"/>
                <a:ea typeface="Roboto SemiBold" pitchFamily="34" charset="-122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в 2 строки</a:t>
            </a:r>
          </a:p>
        </p:txBody>
      </p:sp>
      <p:sp>
        <p:nvSpPr>
          <p:cNvPr id="10" name="Текст 7">
            <a:extLst>
              <a:ext uri="{FF2B5EF4-FFF2-40B4-BE49-F238E27FC236}">
                <a16:creationId xmlns:a16="http://schemas.microsoft.com/office/drawing/2014/main" id="{3ABA512B-BCE2-2D3E-69FD-E20741180E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5628" y="2172433"/>
            <a:ext cx="7848000" cy="276999"/>
          </a:xfrm>
        </p:spPr>
        <p:txBody>
          <a:bodyPr vert="horz" lIns="0" tIns="0" rIns="0" bIns="0" rtlCol="0">
            <a:spAutoFit/>
          </a:bodyPr>
          <a:lstStyle>
            <a:lvl2pPr>
              <a:defRPr lang="ru-RU" sz="1800" dirty="0"/>
            </a:lvl2pPr>
          </a:lstStyle>
          <a:p>
            <a:pPr lvl="1"/>
            <a:r>
              <a:rPr lang="ru-RU" dirty="0"/>
              <a:t>Подзаголовок (заполняется по необходимости)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A9EC48C6-F3B4-DB82-A033-4696BDD2E23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1241" y="3808655"/>
            <a:ext cx="3920759" cy="384721"/>
          </a:xfrm>
        </p:spPr>
        <p:txBody>
          <a:bodyPr>
            <a:spAutoFit/>
          </a:bodyPr>
          <a:lstStyle>
            <a:lvl2pPr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marL="0" lvl="1" indent="0" algn="l" defTabSz="778986" rtl="0" eaLnBrk="1" fontAlgn="base" latinLnBrk="0" hangingPunct="1">
              <a:lnSpc>
                <a:spcPts val="148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ru-RU" dirty="0"/>
              <a:t>Имя Фамилия,</a:t>
            </a:r>
          </a:p>
          <a:p>
            <a:pPr marL="0" lvl="1" indent="0" algn="l" defTabSz="778986" rtl="0" eaLnBrk="1" fontAlgn="base" latinLnBrk="0" hangingPunct="1">
              <a:lnSpc>
                <a:spcPts val="148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ru-RU" dirty="0"/>
              <a:t>Должность</a:t>
            </a:r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88AC085D-97FA-8866-1A91-5A2F64E7AC9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628" y="4299943"/>
            <a:ext cx="3592522" cy="262059"/>
          </a:xfrm>
          <a:prstGeom prst="rect">
            <a:avLst/>
          </a:prstGeom>
          <a:effectLst/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0" baseline="0">
                <a:solidFill>
                  <a:schemeClr val="tx2"/>
                </a:solidFill>
                <a:effectLst/>
              </a:defRPr>
            </a:lvl1pPr>
            <a:lvl3pPr>
              <a:defRPr lang="ru-RU" sz="1400" b="0" i="0" kern="1200" dirty="0">
                <a:solidFill>
                  <a:schemeClr val="accent1"/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3pPr>
          </a:lstStyle>
          <a:p>
            <a:pPr marL="0" lvl="2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ru-RU" dirty="0"/>
              <a:t>Месяц/Год</a:t>
            </a:r>
          </a:p>
        </p:txBody>
      </p:sp>
    </p:spTree>
    <p:extLst>
      <p:ext uri="{BB962C8B-B14F-4D97-AF65-F5344CB8AC3E}">
        <p14:creationId xmlns:p14="http://schemas.microsoft.com/office/powerpoint/2010/main" val="14041976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Т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D7DA5690-4E4D-5998-E49A-CB3E88668D2C}"/>
              </a:ext>
            </a:extLst>
          </p:cNvPr>
          <p:cNvSpPr/>
          <p:nvPr userDrawn="1"/>
        </p:nvSpPr>
        <p:spPr bwMode="auto">
          <a:xfrm>
            <a:off x="7141688" y="339725"/>
            <a:ext cx="1470470" cy="1470470"/>
          </a:xfrm>
          <a:prstGeom prst="roundRect">
            <a:avLst>
              <a:gd name="adj" fmla="val 6887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388F7EB9-5771-7459-C19A-DC6A53FA731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7562834 w 9144000"/>
              <a:gd name="connsiteY0" fmla="*/ 4627820 h 5143500"/>
              <a:gd name="connsiteX1" fmla="*/ 7562814 w 9144000"/>
              <a:gd name="connsiteY1" fmla="*/ 4628010 h 5143500"/>
              <a:gd name="connsiteX2" fmla="*/ 7562833 w 9144000"/>
              <a:gd name="connsiteY2" fmla="*/ 4627821 h 5143500"/>
              <a:gd name="connsiteX3" fmla="*/ 7858688 w 9144000"/>
              <a:gd name="connsiteY3" fmla="*/ 4537993 h 5143500"/>
              <a:gd name="connsiteX4" fmla="*/ 7888100 w 9144000"/>
              <a:gd name="connsiteY4" fmla="*/ 4537993 h 5143500"/>
              <a:gd name="connsiteX5" fmla="*/ 7883384 w 9144000"/>
              <a:gd name="connsiteY5" fmla="*/ 4588910 h 5143500"/>
              <a:gd name="connsiteX6" fmla="*/ 7854281 w 9144000"/>
              <a:gd name="connsiteY6" fmla="*/ 4588910 h 5143500"/>
              <a:gd name="connsiteX7" fmla="*/ 8447497 w 9144000"/>
              <a:gd name="connsiteY7" fmla="*/ 4445264 h 5143500"/>
              <a:gd name="connsiteX8" fmla="*/ 8476363 w 9144000"/>
              <a:gd name="connsiteY8" fmla="*/ 4445588 h 5143500"/>
              <a:gd name="connsiteX9" fmla="*/ 8469552 w 9144000"/>
              <a:gd name="connsiteY9" fmla="*/ 4513700 h 5143500"/>
              <a:gd name="connsiteX10" fmla="*/ 8440686 w 9144000"/>
              <a:gd name="connsiteY10" fmla="*/ 4513700 h 5143500"/>
              <a:gd name="connsiteX11" fmla="*/ 7604568 w 9144000"/>
              <a:gd name="connsiteY11" fmla="*/ 4408488 h 5143500"/>
              <a:gd name="connsiteX12" fmla="*/ 7604337 w 9144000"/>
              <a:gd name="connsiteY12" fmla="*/ 4410784 h 5143500"/>
              <a:gd name="connsiteX13" fmla="*/ 7604337 w 9144000"/>
              <a:gd name="connsiteY13" fmla="*/ 4410783 h 5143500"/>
              <a:gd name="connsiteX14" fmla="*/ 7467027 w 9144000"/>
              <a:gd name="connsiteY14" fmla="*/ 4382076 h 5143500"/>
              <a:gd name="connsiteX15" fmla="*/ 7442631 w 9144000"/>
              <a:gd name="connsiteY15" fmla="*/ 4654026 h 5143500"/>
              <a:gd name="connsiteX16" fmla="*/ 7477403 w 9144000"/>
              <a:gd name="connsiteY16" fmla="*/ 4654026 h 5143500"/>
              <a:gd name="connsiteX17" fmla="*/ 7530952 w 9144000"/>
              <a:gd name="connsiteY17" fmla="*/ 4654026 h 5143500"/>
              <a:gd name="connsiteX18" fmla="*/ 7534811 w 9144000"/>
              <a:gd name="connsiteY18" fmla="*/ 4654026 h 5143500"/>
              <a:gd name="connsiteX19" fmla="*/ 7534811 w 9144000"/>
              <a:gd name="connsiteY19" fmla="*/ 4653637 h 5143500"/>
              <a:gd name="connsiteX20" fmla="*/ 7537505 w 9144000"/>
              <a:gd name="connsiteY20" fmla="*/ 4653365 h 5143500"/>
              <a:gd name="connsiteX21" fmla="*/ 7553946 w 9144000"/>
              <a:gd name="connsiteY21" fmla="*/ 4644503 h 5143500"/>
              <a:gd name="connsiteX22" fmla="*/ 7559854 w 9144000"/>
              <a:gd name="connsiteY22" fmla="*/ 4635738 h 5143500"/>
              <a:gd name="connsiteX23" fmla="*/ 7560914 w 9144000"/>
              <a:gd name="connsiteY23" fmla="*/ 4634166 h 5143500"/>
              <a:gd name="connsiteX24" fmla="*/ 7562809 w 9144000"/>
              <a:gd name="connsiteY24" fmla="*/ 4628063 h 5143500"/>
              <a:gd name="connsiteX25" fmla="*/ 7562814 w 9144000"/>
              <a:gd name="connsiteY25" fmla="*/ 4628010 h 5143500"/>
              <a:gd name="connsiteX26" fmla="*/ 7599867 w 9144000"/>
              <a:gd name="connsiteY26" fmla="*/ 4531271 h 5143500"/>
              <a:gd name="connsiteX27" fmla="*/ 7587533 w 9144000"/>
              <a:gd name="connsiteY27" fmla="*/ 4654026 h 5143500"/>
              <a:gd name="connsiteX28" fmla="*/ 7703574 w 9144000"/>
              <a:gd name="connsiteY28" fmla="*/ 4654026 h 5143500"/>
              <a:gd name="connsiteX29" fmla="*/ 7727971 w 9144000"/>
              <a:gd name="connsiteY29" fmla="*/ 4382076 h 5143500"/>
              <a:gd name="connsiteX30" fmla="*/ 7695878 w 9144000"/>
              <a:gd name="connsiteY30" fmla="*/ 4382076 h 5143500"/>
              <a:gd name="connsiteX31" fmla="*/ 7636470 w 9144000"/>
              <a:gd name="connsiteY31" fmla="*/ 4382076 h 5143500"/>
              <a:gd name="connsiteX32" fmla="*/ 7632437 w 9144000"/>
              <a:gd name="connsiteY32" fmla="*/ 4382076 h 5143500"/>
              <a:gd name="connsiteX33" fmla="*/ 7632437 w 9144000"/>
              <a:gd name="connsiteY33" fmla="*/ 4382483 h 5143500"/>
              <a:gd name="connsiteX34" fmla="*/ 7629917 w 9144000"/>
              <a:gd name="connsiteY34" fmla="*/ 4382737 h 5143500"/>
              <a:gd name="connsiteX35" fmla="*/ 7613477 w 9144000"/>
              <a:gd name="connsiteY35" fmla="*/ 4391601 h 5143500"/>
              <a:gd name="connsiteX36" fmla="*/ 7606865 w 9144000"/>
              <a:gd name="connsiteY36" fmla="*/ 4401407 h 5143500"/>
              <a:gd name="connsiteX37" fmla="*/ 7606508 w 9144000"/>
              <a:gd name="connsiteY37" fmla="*/ 4401936 h 5143500"/>
              <a:gd name="connsiteX38" fmla="*/ 7604614 w 9144000"/>
              <a:gd name="connsiteY38" fmla="*/ 4408041 h 5143500"/>
              <a:gd name="connsiteX39" fmla="*/ 7604568 w 9144000"/>
              <a:gd name="connsiteY39" fmla="*/ 4408488 h 5143500"/>
              <a:gd name="connsiteX40" fmla="*/ 7567847 w 9144000"/>
              <a:gd name="connsiteY40" fmla="*/ 4521697 h 5143500"/>
              <a:gd name="connsiteX41" fmla="*/ 7582595 w 9144000"/>
              <a:gd name="connsiteY41" fmla="*/ 4382076 h 5143500"/>
              <a:gd name="connsiteX42" fmla="*/ 7206189 w 9144000"/>
              <a:gd name="connsiteY42" fmla="*/ 4382076 h 5143500"/>
              <a:gd name="connsiteX43" fmla="*/ 7176227 w 9144000"/>
              <a:gd name="connsiteY43" fmla="*/ 4401936 h 5143500"/>
              <a:gd name="connsiteX44" fmla="*/ 7174801 w 9144000"/>
              <a:gd name="connsiteY44" fmla="*/ 4406534 h 5143500"/>
              <a:gd name="connsiteX45" fmla="*/ 7173870 w 9144000"/>
              <a:gd name="connsiteY45" fmla="*/ 4416567 h 5143500"/>
              <a:gd name="connsiteX46" fmla="*/ 7173871 w 9144000"/>
              <a:gd name="connsiteY46" fmla="*/ 4416568 h 5143500"/>
              <a:gd name="connsiteX47" fmla="*/ 7154897 w 9144000"/>
              <a:gd name="connsiteY47" fmla="*/ 4621402 h 5143500"/>
              <a:gd name="connsiteX48" fmla="*/ 7154824 w 9144000"/>
              <a:gd name="connsiteY48" fmla="*/ 4622190 h 5143500"/>
              <a:gd name="connsiteX49" fmla="*/ 7155482 w 9144000"/>
              <a:gd name="connsiteY49" fmla="*/ 4628711 h 5143500"/>
              <a:gd name="connsiteX50" fmla="*/ 7180785 w 9144000"/>
              <a:gd name="connsiteY50" fmla="*/ 4654014 h 5143500"/>
              <a:gd name="connsiteX51" fmla="*/ 7180903 w 9144000"/>
              <a:gd name="connsiteY51" fmla="*/ 4654026 h 5143500"/>
              <a:gd name="connsiteX52" fmla="*/ 7193774 w 9144000"/>
              <a:gd name="connsiteY52" fmla="*/ 4654026 h 5143500"/>
              <a:gd name="connsiteX53" fmla="*/ 7377760 w 9144000"/>
              <a:gd name="connsiteY53" fmla="*/ 4654026 h 5143500"/>
              <a:gd name="connsiteX54" fmla="*/ 7377761 w 9144000"/>
              <a:gd name="connsiteY54" fmla="*/ 4654026 h 5143500"/>
              <a:gd name="connsiteX55" fmla="*/ 7390630 w 9144000"/>
              <a:gd name="connsiteY55" fmla="*/ 4654026 h 5143500"/>
              <a:gd name="connsiteX56" fmla="*/ 7390749 w 9144000"/>
              <a:gd name="connsiteY56" fmla="*/ 4654014 h 5143500"/>
              <a:gd name="connsiteX57" fmla="*/ 7414157 w 9144000"/>
              <a:gd name="connsiteY57" fmla="*/ 4634815 h 5143500"/>
              <a:gd name="connsiteX58" fmla="*/ 7415132 w 9144000"/>
              <a:gd name="connsiteY58" fmla="*/ 4631675 h 5143500"/>
              <a:gd name="connsiteX59" fmla="*/ 7416116 w 9144000"/>
              <a:gd name="connsiteY59" fmla="*/ 4621055 h 5143500"/>
              <a:gd name="connsiteX60" fmla="*/ 7416427 w 9144000"/>
              <a:gd name="connsiteY60" fmla="*/ 4621055 h 5143500"/>
              <a:gd name="connsiteX61" fmla="*/ 7416427 w 9144000"/>
              <a:gd name="connsiteY61" fmla="*/ 4617692 h 5143500"/>
              <a:gd name="connsiteX62" fmla="*/ 7424377 w 9144000"/>
              <a:gd name="connsiteY62" fmla="*/ 4531862 h 5143500"/>
              <a:gd name="connsiteX63" fmla="*/ 7308562 w 9144000"/>
              <a:gd name="connsiteY63" fmla="*/ 4531862 h 5143500"/>
              <a:gd name="connsiteX64" fmla="*/ 7303278 w 9144000"/>
              <a:gd name="connsiteY64" fmla="*/ 4588910 h 5143500"/>
              <a:gd name="connsiteX65" fmla="*/ 7273310 w 9144000"/>
              <a:gd name="connsiteY65" fmla="*/ 4588910 h 5143500"/>
              <a:gd name="connsiteX66" fmla="*/ 7286485 w 9144000"/>
              <a:gd name="connsiteY66" fmla="*/ 4446678 h 5143500"/>
              <a:gd name="connsiteX67" fmla="*/ 7316453 w 9144000"/>
              <a:gd name="connsiteY67" fmla="*/ 4446678 h 5143500"/>
              <a:gd name="connsiteX68" fmla="*/ 7311597 w 9144000"/>
              <a:gd name="connsiteY68" fmla="*/ 4499105 h 5143500"/>
              <a:gd name="connsiteX69" fmla="*/ 7427412 w 9144000"/>
              <a:gd name="connsiteY69" fmla="*/ 4499105 h 5143500"/>
              <a:gd name="connsiteX70" fmla="*/ 7434530 w 9144000"/>
              <a:gd name="connsiteY70" fmla="*/ 4422265 h 5143500"/>
              <a:gd name="connsiteX71" fmla="*/ 7435467 w 9144000"/>
              <a:gd name="connsiteY71" fmla="*/ 4412138 h 5143500"/>
              <a:gd name="connsiteX72" fmla="*/ 7435011 w 9144000"/>
              <a:gd name="connsiteY72" fmla="*/ 4407608 h 5143500"/>
              <a:gd name="connsiteX73" fmla="*/ 7409707 w 9144000"/>
              <a:gd name="connsiteY73" fmla="*/ 4382304 h 5143500"/>
              <a:gd name="connsiteX74" fmla="*/ 7407444 w 9144000"/>
              <a:gd name="connsiteY74" fmla="*/ 4382076 h 5143500"/>
              <a:gd name="connsiteX75" fmla="*/ 7398864 w 9144000"/>
              <a:gd name="connsiteY75" fmla="*/ 4382076 h 5143500"/>
              <a:gd name="connsiteX76" fmla="*/ 8307354 w 9144000"/>
              <a:gd name="connsiteY76" fmla="*/ 4382047 h 5143500"/>
              <a:gd name="connsiteX77" fmla="*/ 8192488 w 9144000"/>
              <a:gd name="connsiteY77" fmla="*/ 4382060 h 5143500"/>
              <a:gd name="connsiteX78" fmla="*/ 8181143 w 9144000"/>
              <a:gd name="connsiteY78" fmla="*/ 4506345 h 5143500"/>
              <a:gd name="connsiteX79" fmla="*/ 8152251 w 9144000"/>
              <a:gd name="connsiteY79" fmla="*/ 4505913 h 5143500"/>
              <a:gd name="connsiteX80" fmla="*/ 8163078 w 9144000"/>
              <a:gd name="connsiteY80" fmla="*/ 4382063 h 5143500"/>
              <a:gd name="connsiteX81" fmla="*/ 8046694 w 9144000"/>
              <a:gd name="connsiteY81" fmla="*/ 4382076 h 5143500"/>
              <a:gd name="connsiteX82" fmla="*/ 8034234 w 9144000"/>
              <a:gd name="connsiteY82" fmla="*/ 4522992 h 5143500"/>
              <a:gd name="connsiteX83" fmla="*/ 8033384 w 9144000"/>
              <a:gd name="connsiteY83" fmla="*/ 4532607 h 5143500"/>
              <a:gd name="connsiteX84" fmla="*/ 8033858 w 9144000"/>
              <a:gd name="connsiteY84" fmla="*/ 4537310 h 5143500"/>
              <a:gd name="connsiteX85" fmla="*/ 8053057 w 9144000"/>
              <a:gd name="connsiteY85" fmla="*/ 4560719 h 5143500"/>
              <a:gd name="connsiteX86" fmla="*/ 8058493 w 9144000"/>
              <a:gd name="connsiteY86" fmla="*/ 4562407 h 5143500"/>
              <a:gd name="connsiteX87" fmla="*/ 8072842 w 9144000"/>
              <a:gd name="connsiteY87" fmla="*/ 4562435 h 5143500"/>
              <a:gd name="connsiteX88" fmla="*/ 8175630 w 9144000"/>
              <a:gd name="connsiteY88" fmla="*/ 4562643 h 5143500"/>
              <a:gd name="connsiteX89" fmla="*/ 8173508 w 9144000"/>
              <a:gd name="connsiteY89" fmla="*/ 4589774 h 5143500"/>
              <a:gd name="connsiteX90" fmla="*/ 8028344 w 9144000"/>
              <a:gd name="connsiteY90" fmla="*/ 4589594 h 5143500"/>
              <a:gd name="connsiteX91" fmla="*/ 8022647 w 9144000"/>
              <a:gd name="connsiteY91" fmla="*/ 4654026 h 5143500"/>
              <a:gd name="connsiteX92" fmla="*/ 8247557 w 9144000"/>
              <a:gd name="connsiteY92" fmla="*/ 4654026 h 5143500"/>
              <a:gd name="connsiteX93" fmla="*/ 8247558 w 9144000"/>
              <a:gd name="connsiteY93" fmla="*/ 4654026 h 5143500"/>
              <a:gd name="connsiteX94" fmla="*/ 8260428 w 9144000"/>
              <a:gd name="connsiteY94" fmla="*/ 4654026 h 5143500"/>
              <a:gd name="connsiteX95" fmla="*/ 8260546 w 9144000"/>
              <a:gd name="connsiteY95" fmla="*/ 4654014 h 5143500"/>
              <a:gd name="connsiteX96" fmla="*/ 8283955 w 9144000"/>
              <a:gd name="connsiteY96" fmla="*/ 4634815 h 5143500"/>
              <a:gd name="connsiteX97" fmla="*/ 8284929 w 9144000"/>
              <a:gd name="connsiteY97" fmla="*/ 4631675 h 5143500"/>
              <a:gd name="connsiteX98" fmla="*/ 8285913 w 9144000"/>
              <a:gd name="connsiteY98" fmla="*/ 4621055 h 5143500"/>
              <a:gd name="connsiteX99" fmla="*/ 8286224 w 9144000"/>
              <a:gd name="connsiteY99" fmla="*/ 4621055 h 5143500"/>
              <a:gd name="connsiteX100" fmla="*/ 8286224 w 9144000"/>
              <a:gd name="connsiteY100" fmla="*/ 4617692 h 5143500"/>
              <a:gd name="connsiteX101" fmla="*/ 8017663 w 9144000"/>
              <a:gd name="connsiteY101" fmla="*/ 4382047 h 5143500"/>
              <a:gd name="connsiteX102" fmla="*/ 7757003 w 9144000"/>
              <a:gd name="connsiteY102" fmla="*/ 4382076 h 5143500"/>
              <a:gd name="connsiteX103" fmla="*/ 7732956 w 9144000"/>
              <a:gd name="connsiteY103" fmla="*/ 4654026 h 5143500"/>
              <a:gd name="connsiteX104" fmla="*/ 7957866 w 9144000"/>
              <a:gd name="connsiteY104" fmla="*/ 4654026 h 5143500"/>
              <a:gd name="connsiteX105" fmla="*/ 7957867 w 9144000"/>
              <a:gd name="connsiteY105" fmla="*/ 4654026 h 5143500"/>
              <a:gd name="connsiteX106" fmla="*/ 7970737 w 9144000"/>
              <a:gd name="connsiteY106" fmla="*/ 4654026 h 5143500"/>
              <a:gd name="connsiteX107" fmla="*/ 7970855 w 9144000"/>
              <a:gd name="connsiteY107" fmla="*/ 4654014 h 5143500"/>
              <a:gd name="connsiteX108" fmla="*/ 7994264 w 9144000"/>
              <a:gd name="connsiteY108" fmla="*/ 4634815 h 5143500"/>
              <a:gd name="connsiteX109" fmla="*/ 7995238 w 9144000"/>
              <a:gd name="connsiteY109" fmla="*/ 4631675 h 5143500"/>
              <a:gd name="connsiteX110" fmla="*/ 7996222 w 9144000"/>
              <a:gd name="connsiteY110" fmla="*/ 4621055 h 5143500"/>
              <a:gd name="connsiteX111" fmla="*/ 7996533 w 9144000"/>
              <a:gd name="connsiteY111" fmla="*/ 4621055 h 5143500"/>
              <a:gd name="connsiteX112" fmla="*/ 7996533 w 9144000"/>
              <a:gd name="connsiteY112" fmla="*/ 4617692 h 5143500"/>
              <a:gd name="connsiteX113" fmla="*/ 8003056 w 9144000"/>
              <a:gd name="connsiteY113" fmla="*/ 4547283 h 5143500"/>
              <a:gd name="connsiteX114" fmla="*/ 8003311 w 9144000"/>
              <a:gd name="connsiteY114" fmla="*/ 4547283 h 5143500"/>
              <a:gd name="connsiteX115" fmla="*/ 8006433 w 9144000"/>
              <a:gd name="connsiteY115" fmla="*/ 4513580 h 5143500"/>
              <a:gd name="connsiteX116" fmla="*/ 8007371 w 9144000"/>
              <a:gd name="connsiteY116" fmla="*/ 4503454 h 5143500"/>
              <a:gd name="connsiteX117" fmla="*/ 8006914 w 9144000"/>
              <a:gd name="connsiteY117" fmla="*/ 4498923 h 5143500"/>
              <a:gd name="connsiteX118" fmla="*/ 7981611 w 9144000"/>
              <a:gd name="connsiteY118" fmla="*/ 4473619 h 5143500"/>
              <a:gd name="connsiteX119" fmla="*/ 7979348 w 9144000"/>
              <a:gd name="connsiteY119" fmla="*/ 4473391 h 5143500"/>
              <a:gd name="connsiteX120" fmla="*/ 7970767 w 9144000"/>
              <a:gd name="connsiteY120" fmla="*/ 4473391 h 5143500"/>
              <a:gd name="connsiteX121" fmla="*/ 7864279 w 9144000"/>
              <a:gd name="connsiteY121" fmla="*/ 4473391 h 5143500"/>
              <a:gd name="connsiteX122" fmla="*/ 7866591 w 9144000"/>
              <a:gd name="connsiteY122" fmla="*/ 4446678 h 5143500"/>
              <a:gd name="connsiteX123" fmla="*/ 8012275 w 9144000"/>
              <a:gd name="connsiteY123" fmla="*/ 4446346 h 5143500"/>
              <a:gd name="connsiteX124" fmla="*/ 8336830 w 9144000"/>
              <a:gd name="connsiteY124" fmla="*/ 4381427 h 5143500"/>
              <a:gd name="connsiteX125" fmla="*/ 8320445 w 9144000"/>
              <a:gd name="connsiteY125" fmla="*/ 4569432 h 5143500"/>
              <a:gd name="connsiteX126" fmla="*/ 8313078 w 9144000"/>
              <a:gd name="connsiteY126" fmla="*/ 4653961 h 5143500"/>
              <a:gd name="connsiteX127" fmla="*/ 8428621 w 9144000"/>
              <a:gd name="connsiteY127" fmla="*/ 4654026 h 5143500"/>
              <a:gd name="connsiteX128" fmla="*/ 8435894 w 9144000"/>
              <a:gd name="connsiteY128" fmla="*/ 4569432 h 5143500"/>
              <a:gd name="connsiteX129" fmla="*/ 8545276 w 9144000"/>
              <a:gd name="connsiteY129" fmla="*/ 4569432 h 5143500"/>
              <a:gd name="connsiteX130" fmla="*/ 8558158 w 9144000"/>
              <a:gd name="connsiteY130" fmla="*/ 4569432 h 5143500"/>
              <a:gd name="connsiteX131" fmla="*/ 8558275 w 9144000"/>
              <a:gd name="connsiteY131" fmla="*/ 4569419 h 5143500"/>
              <a:gd name="connsiteX132" fmla="*/ 8581704 w 9144000"/>
              <a:gd name="connsiteY132" fmla="*/ 4549521 h 5143500"/>
              <a:gd name="connsiteX133" fmla="*/ 8582680 w 9144000"/>
              <a:gd name="connsiteY133" fmla="*/ 4546268 h 5143500"/>
              <a:gd name="connsiteX134" fmla="*/ 8583665 w 9144000"/>
              <a:gd name="connsiteY134" fmla="*/ 4535261 h 5143500"/>
              <a:gd name="connsiteX135" fmla="*/ 8583976 w 9144000"/>
              <a:gd name="connsiteY135" fmla="*/ 4535261 h 5143500"/>
              <a:gd name="connsiteX136" fmla="*/ 8583976 w 9144000"/>
              <a:gd name="connsiteY136" fmla="*/ 4531776 h 5143500"/>
              <a:gd name="connsiteX137" fmla="*/ 8590505 w 9144000"/>
              <a:gd name="connsiteY137" fmla="*/ 4458806 h 5143500"/>
              <a:gd name="connsiteX138" fmla="*/ 8590761 w 9144000"/>
              <a:gd name="connsiteY138" fmla="*/ 4458806 h 5143500"/>
              <a:gd name="connsiteX139" fmla="*/ 8592152 w 9144000"/>
              <a:gd name="connsiteY139" fmla="*/ 4443254 h 5143500"/>
              <a:gd name="connsiteX140" fmla="*/ 8593886 w 9144000"/>
              <a:gd name="connsiteY140" fmla="*/ 4423878 h 5143500"/>
              <a:gd name="connsiteX141" fmla="*/ 8594824 w 9144000"/>
              <a:gd name="connsiteY141" fmla="*/ 4413384 h 5143500"/>
              <a:gd name="connsiteX142" fmla="*/ 8594367 w 9144000"/>
              <a:gd name="connsiteY142" fmla="*/ 4408689 h 5143500"/>
              <a:gd name="connsiteX143" fmla="*/ 8569041 w 9144000"/>
              <a:gd name="connsiteY143" fmla="*/ 4382465 h 5143500"/>
              <a:gd name="connsiteX144" fmla="*/ 8566776 w 9144000"/>
              <a:gd name="connsiteY144" fmla="*/ 4382229 h 5143500"/>
              <a:gd name="connsiteX145" fmla="*/ 8558189 w 9144000"/>
              <a:gd name="connsiteY145" fmla="*/ 4382229 h 5143500"/>
              <a:gd name="connsiteX146" fmla="*/ 8451608 w 9144000"/>
              <a:gd name="connsiteY146" fmla="*/ 4382229 h 5143500"/>
              <a:gd name="connsiteX147" fmla="*/ 8451674 w 9144000"/>
              <a:gd name="connsiteY147" fmla="*/ 4381427 h 5143500"/>
              <a:gd name="connsiteX148" fmla="*/ 0 w 9144000"/>
              <a:gd name="connsiteY148" fmla="*/ 0 h 5143500"/>
              <a:gd name="connsiteX149" fmla="*/ 9144000 w 9144000"/>
              <a:gd name="connsiteY149" fmla="*/ 0 h 5143500"/>
              <a:gd name="connsiteX150" fmla="*/ 9144000 w 9144000"/>
              <a:gd name="connsiteY150" fmla="*/ 5143500 h 5143500"/>
              <a:gd name="connsiteX151" fmla="*/ 0 w 9144000"/>
              <a:gd name="connsiteY15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</a:cxnLst>
            <a:rect l="l" t="t" r="r" b="b"/>
            <a:pathLst>
              <a:path w="9144000" h="5143500">
                <a:moveTo>
                  <a:pt x="7562834" y="4627820"/>
                </a:moveTo>
                <a:lnTo>
                  <a:pt x="7562814" y="4628010"/>
                </a:lnTo>
                <a:lnTo>
                  <a:pt x="7562833" y="4627821"/>
                </a:lnTo>
                <a:close/>
                <a:moveTo>
                  <a:pt x="7858688" y="4537993"/>
                </a:moveTo>
                <a:lnTo>
                  <a:pt x="7888100" y="4537993"/>
                </a:lnTo>
                <a:lnTo>
                  <a:pt x="7883384" y="4588910"/>
                </a:lnTo>
                <a:lnTo>
                  <a:pt x="7854281" y="4588910"/>
                </a:lnTo>
                <a:close/>
                <a:moveTo>
                  <a:pt x="8447497" y="4445264"/>
                </a:moveTo>
                <a:lnTo>
                  <a:pt x="8476363" y="4445588"/>
                </a:lnTo>
                <a:lnTo>
                  <a:pt x="8469552" y="4513700"/>
                </a:lnTo>
                <a:lnTo>
                  <a:pt x="8440686" y="4513700"/>
                </a:lnTo>
                <a:close/>
                <a:moveTo>
                  <a:pt x="7604568" y="4408488"/>
                </a:moveTo>
                <a:lnTo>
                  <a:pt x="7604337" y="4410784"/>
                </a:lnTo>
                <a:lnTo>
                  <a:pt x="7604337" y="4410783"/>
                </a:lnTo>
                <a:close/>
                <a:moveTo>
                  <a:pt x="7467027" y="4382076"/>
                </a:moveTo>
                <a:lnTo>
                  <a:pt x="7442631" y="4654026"/>
                </a:lnTo>
                <a:lnTo>
                  <a:pt x="7477403" y="4654026"/>
                </a:lnTo>
                <a:lnTo>
                  <a:pt x="7530952" y="4654026"/>
                </a:lnTo>
                <a:lnTo>
                  <a:pt x="7534811" y="4654026"/>
                </a:lnTo>
                <a:lnTo>
                  <a:pt x="7534811" y="4653637"/>
                </a:lnTo>
                <a:lnTo>
                  <a:pt x="7537505" y="4653365"/>
                </a:lnTo>
                <a:cubicBezTo>
                  <a:pt x="7543856" y="4652067"/>
                  <a:pt x="7549532" y="4648916"/>
                  <a:pt x="7553946" y="4644503"/>
                </a:cubicBezTo>
                <a:lnTo>
                  <a:pt x="7559854" y="4635738"/>
                </a:lnTo>
                <a:lnTo>
                  <a:pt x="7560914" y="4634166"/>
                </a:lnTo>
                <a:cubicBezTo>
                  <a:pt x="7561737" y="4632221"/>
                  <a:pt x="7562376" y="4630180"/>
                  <a:pt x="7562809" y="4628063"/>
                </a:cubicBezTo>
                <a:lnTo>
                  <a:pt x="7562814" y="4628010"/>
                </a:lnTo>
                <a:lnTo>
                  <a:pt x="7599867" y="4531271"/>
                </a:lnTo>
                <a:lnTo>
                  <a:pt x="7587533" y="4654026"/>
                </a:lnTo>
                <a:lnTo>
                  <a:pt x="7703574" y="4654026"/>
                </a:lnTo>
                <a:lnTo>
                  <a:pt x="7727971" y="4382076"/>
                </a:lnTo>
                <a:lnTo>
                  <a:pt x="7695878" y="4382076"/>
                </a:lnTo>
                <a:lnTo>
                  <a:pt x="7636470" y="4382076"/>
                </a:lnTo>
                <a:lnTo>
                  <a:pt x="7632437" y="4382076"/>
                </a:lnTo>
                <a:lnTo>
                  <a:pt x="7632437" y="4382483"/>
                </a:lnTo>
                <a:lnTo>
                  <a:pt x="7629917" y="4382737"/>
                </a:lnTo>
                <a:cubicBezTo>
                  <a:pt x="7623566" y="4384037"/>
                  <a:pt x="7617891" y="4387187"/>
                  <a:pt x="7613477" y="4391601"/>
                </a:cubicBezTo>
                <a:lnTo>
                  <a:pt x="7606865" y="4401407"/>
                </a:lnTo>
                <a:lnTo>
                  <a:pt x="7606508" y="4401936"/>
                </a:lnTo>
                <a:cubicBezTo>
                  <a:pt x="7605685" y="4403882"/>
                  <a:pt x="7605046" y="4405924"/>
                  <a:pt x="7604614" y="4408041"/>
                </a:cubicBezTo>
                <a:lnTo>
                  <a:pt x="7604568" y="4408488"/>
                </a:lnTo>
                <a:lnTo>
                  <a:pt x="7567847" y="4521697"/>
                </a:lnTo>
                <a:lnTo>
                  <a:pt x="7582595" y="4382076"/>
                </a:lnTo>
                <a:close/>
                <a:moveTo>
                  <a:pt x="7206189" y="4382076"/>
                </a:moveTo>
                <a:cubicBezTo>
                  <a:pt x="7192720" y="4382076"/>
                  <a:pt x="7181164" y="4390266"/>
                  <a:pt x="7176227" y="4401936"/>
                </a:cubicBezTo>
                <a:lnTo>
                  <a:pt x="7174801" y="4406534"/>
                </a:lnTo>
                <a:lnTo>
                  <a:pt x="7173870" y="4416567"/>
                </a:lnTo>
                <a:cubicBezTo>
                  <a:pt x="7173870" y="4416568"/>
                  <a:pt x="7173871" y="4416568"/>
                  <a:pt x="7173871" y="4416568"/>
                </a:cubicBezTo>
                <a:lnTo>
                  <a:pt x="7154897" y="4621402"/>
                </a:lnTo>
                <a:lnTo>
                  <a:pt x="7154824" y="4622190"/>
                </a:lnTo>
                <a:lnTo>
                  <a:pt x="7155482" y="4628711"/>
                </a:lnTo>
                <a:cubicBezTo>
                  <a:pt x="7158081" y="4641412"/>
                  <a:pt x="7168084" y="4651415"/>
                  <a:pt x="7180785" y="4654014"/>
                </a:cubicBezTo>
                <a:lnTo>
                  <a:pt x="7180903" y="4654026"/>
                </a:lnTo>
                <a:lnTo>
                  <a:pt x="7193774" y="4654026"/>
                </a:lnTo>
                <a:lnTo>
                  <a:pt x="7377760" y="4654026"/>
                </a:lnTo>
                <a:lnTo>
                  <a:pt x="7377761" y="4654026"/>
                </a:lnTo>
                <a:lnTo>
                  <a:pt x="7390630" y="4654026"/>
                </a:lnTo>
                <a:lnTo>
                  <a:pt x="7390749" y="4654014"/>
                </a:lnTo>
                <a:cubicBezTo>
                  <a:pt x="7401333" y="4651849"/>
                  <a:pt x="7410043" y="4644541"/>
                  <a:pt x="7414157" y="4634815"/>
                </a:cubicBezTo>
                <a:lnTo>
                  <a:pt x="7415132" y="4631675"/>
                </a:lnTo>
                <a:lnTo>
                  <a:pt x="7416116" y="4621055"/>
                </a:lnTo>
                <a:lnTo>
                  <a:pt x="7416427" y="4621055"/>
                </a:lnTo>
                <a:lnTo>
                  <a:pt x="7416427" y="4617692"/>
                </a:lnTo>
                <a:lnTo>
                  <a:pt x="7424377" y="4531862"/>
                </a:lnTo>
                <a:lnTo>
                  <a:pt x="7308562" y="4531862"/>
                </a:lnTo>
                <a:lnTo>
                  <a:pt x="7303278" y="4588910"/>
                </a:lnTo>
                <a:lnTo>
                  <a:pt x="7273310" y="4588910"/>
                </a:lnTo>
                <a:lnTo>
                  <a:pt x="7286485" y="4446678"/>
                </a:lnTo>
                <a:lnTo>
                  <a:pt x="7316453" y="4446678"/>
                </a:lnTo>
                <a:lnTo>
                  <a:pt x="7311597" y="4499105"/>
                </a:lnTo>
                <a:lnTo>
                  <a:pt x="7427412" y="4499105"/>
                </a:lnTo>
                <a:lnTo>
                  <a:pt x="7434530" y="4422265"/>
                </a:lnTo>
                <a:lnTo>
                  <a:pt x="7435467" y="4412138"/>
                </a:lnTo>
                <a:lnTo>
                  <a:pt x="7435011" y="4407608"/>
                </a:lnTo>
                <a:cubicBezTo>
                  <a:pt x="7432412" y="4394907"/>
                  <a:pt x="7422408" y="4384904"/>
                  <a:pt x="7409707" y="4382304"/>
                </a:cubicBezTo>
                <a:lnTo>
                  <a:pt x="7407444" y="4382076"/>
                </a:lnTo>
                <a:lnTo>
                  <a:pt x="7398864" y="4382076"/>
                </a:lnTo>
                <a:close/>
                <a:moveTo>
                  <a:pt x="8307354" y="4382047"/>
                </a:moveTo>
                <a:lnTo>
                  <a:pt x="8192488" y="4382060"/>
                </a:lnTo>
                <a:lnTo>
                  <a:pt x="8181143" y="4506345"/>
                </a:lnTo>
                <a:lnTo>
                  <a:pt x="8152251" y="4505913"/>
                </a:lnTo>
                <a:lnTo>
                  <a:pt x="8163078" y="4382063"/>
                </a:lnTo>
                <a:lnTo>
                  <a:pt x="8046694" y="4382076"/>
                </a:lnTo>
                <a:lnTo>
                  <a:pt x="8034234" y="4522992"/>
                </a:lnTo>
                <a:lnTo>
                  <a:pt x="8033384" y="4532607"/>
                </a:lnTo>
                <a:lnTo>
                  <a:pt x="8033858" y="4537310"/>
                </a:lnTo>
                <a:cubicBezTo>
                  <a:pt x="8036024" y="4547894"/>
                  <a:pt x="8043332" y="4556605"/>
                  <a:pt x="8053057" y="4560719"/>
                </a:cubicBezTo>
                <a:lnTo>
                  <a:pt x="8058493" y="4562407"/>
                </a:lnTo>
                <a:lnTo>
                  <a:pt x="8072842" y="4562435"/>
                </a:lnTo>
                <a:lnTo>
                  <a:pt x="8175630" y="4562643"/>
                </a:lnTo>
                <a:lnTo>
                  <a:pt x="8173508" y="4589774"/>
                </a:lnTo>
                <a:lnTo>
                  <a:pt x="8028344" y="4589594"/>
                </a:lnTo>
                <a:lnTo>
                  <a:pt x="8022647" y="4654026"/>
                </a:lnTo>
                <a:lnTo>
                  <a:pt x="8247557" y="4654026"/>
                </a:lnTo>
                <a:lnTo>
                  <a:pt x="8247558" y="4654026"/>
                </a:lnTo>
                <a:lnTo>
                  <a:pt x="8260428" y="4654026"/>
                </a:lnTo>
                <a:lnTo>
                  <a:pt x="8260546" y="4654014"/>
                </a:lnTo>
                <a:cubicBezTo>
                  <a:pt x="8271130" y="4651849"/>
                  <a:pt x="8279840" y="4644541"/>
                  <a:pt x="8283955" y="4634815"/>
                </a:cubicBezTo>
                <a:lnTo>
                  <a:pt x="8284929" y="4631675"/>
                </a:lnTo>
                <a:lnTo>
                  <a:pt x="8285913" y="4621055"/>
                </a:lnTo>
                <a:lnTo>
                  <a:pt x="8286224" y="4621055"/>
                </a:lnTo>
                <a:lnTo>
                  <a:pt x="8286224" y="4617692"/>
                </a:lnTo>
                <a:close/>
                <a:moveTo>
                  <a:pt x="8017663" y="4382047"/>
                </a:moveTo>
                <a:lnTo>
                  <a:pt x="7757003" y="4382076"/>
                </a:lnTo>
                <a:lnTo>
                  <a:pt x="7732956" y="4654026"/>
                </a:lnTo>
                <a:lnTo>
                  <a:pt x="7957866" y="4654026"/>
                </a:lnTo>
                <a:lnTo>
                  <a:pt x="7957867" y="4654026"/>
                </a:lnTo>
                <a:lnTo>
                  <a:pt x="7970737" y="4654026"/>
                </a:lnTo>
                <a:lnTo>
                  <a:pt x="7970855" y="4654014"/>
                </a:lnTo>
                <a:cubicBezTo>
                  <a:pt x="7981439" y="4651849"/>
                  <a:pt x="7990149" y="4644541"/>
                  <a:pt x="7994264" y="4634815"/>
                </a:cubicBezTo>
                <a:lnTo>
                  <a:pt x="7995238" y="4631675"/>
                </a:lnTo>
                <a:lnTo>
                  <a:pt x="7996222" y="4621055"/>
                </a:lnTo>
                <a:lnTo>
                  <a:pt x="7996533" y="4621055"/>
                </a:lnTo>
                <a:lnTo>
                  <a:pt x="7996533" y="4617692"/>
                </a:lnTo>
                <a:lnTo>
                  <a:pt x="8003056" y="4547283"/>
                </a:lnTo>
                <a:lnTo>
                  <a:pt x="8003311" y="4547283"/>
                </a:lnTo>
                <a:lnTo>
                  <a:pt x="8006433" y="4513580"/>
                </a:lnTo>
                <a:lnTo>
                  <a:pt x="8007371" y="4503454"/>
                </a:lnTo>
                <a:lnTo>
                  <a:pt x="8006914" y="4498923"/>
                </a:lnTo>
                <a:cubicBezTo>
                  <a:pt x="8004315" y="4486222"/>
                  <a:pt x="7994312" y="4476219"/>
                  <a:pt x="7981611" y="4473619"/>
                </a:cubicBezTo>
                <a:lnTo>
                  <a:pt x="7979348" y="4473391"/>
                </a:lnTo>
                <a:lnTo>
                  <a:pt x="7970767" y="4473391"/>
                </a:lnTo>
                <a:lnTo>
                  <a:pt x="7864279" y="4473391"/>
                </a:lnTo>
                <a:lnTo>
                  <a:pt x="7866591" y="4446678"/>
                </a:lnTo>
                <a:lnTo>
                  <a:pt x="8012275" y="4446346"/>
                </a:lnTo>
                <a:close/>
                <a:moveTo>
                  <a:pt x="8336830" y="4381427"/>
                </a:moveTo>
                <a:lnTo>
                  <a:pt x="8320445" y="4569432"/>
                </a:lnTo>
                <a:lnTo>
                  <a:pt x="8313078" y="4653961"/>
                </a:lnTo>
                <a:lnTo>
                  <a:pt x="8428621" y="4654026"/>
                </a:lnTo>
                <a:lnTo>
                  <a:pt x="8435894" y="4569432"/>
                </a:lnTo>
                <a:lnTo>
                  <a:pt x="8545276" y="4569432"/>
                </a:lnTo>
                <a:lnTo>
                  <a:pt x="8558158" y="4569432"/>
                </a:lnTo>
                <a:lnTo>
                  <a:pt x="8558275" y="4569419"/>
                </a:lnTo>
                <a:cubicBezTo>
                  <a:pt x="8568869" y="4567174"/>
                  <a:pt x="8577588" y="4559601"/>
                  <a:pt x="8581704" y="4549521"/>
                </a:cubicBezTo>
                <a:lnTo>
                  <a:pt x="8582680" y="4546268"/>
                </a:lnTo>
                <a:lnTo>
                  <a:pt x="8583665" y="4535261"/>
                </a:lnTo>
                <a:lnTo>
                  <a:pt x="8583976" y="4535261"/>
                </a:lnTo>
                <a:lnTo>
                  <a:pt x="8583976" y="4531776"/>
                </a:lnTo>
                <a:lnTo>
                  <a:pt x="8590505" y="4458806"/>
                </a:lnTo>
                <a:lnTo>
                  <a:pt x="8590761" y="4458806"/>
                </a:lnTo>
                <a:lnTo>
                  <a:pt x="8592152" y="4443254"/>
                </a:lnTo>
                <a:lnTo>
                  <a:pt x="8593886" y="4423878"/>
                </a:lnTo>
                <a:lnTo>
                  <a:pt x="8594824" y="4413384"/>
                </a:lnTo>
                <a:lnTo>
                  <a:pt x="8594367" y="4408689"/>
                </a:lnTo>
                <a:cubicBezTo>
                  <a:pt x="8591766" y="4395526"/>
                  <a:pt x="8581753" y="4385159"/>
                  <a:pt x="8569041" y="4382465"/>
                </a:cubicBezTo>
                <a:lnTo>
                  <a:pt x="8566776" y="4382229"/>
                </a:lnTo>
                <a:lnTo>
                  <a:pt x="8558189" y="4382229"/>
                </a:lnTo>
                <a:lnTo>
                  <a:pt x="8451608" y="4382229"/>
                </a:lnTo>
                <a:lnTo>
                  <a:pt x="8451674" y="4381427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rgbClr val="77E2C3"/>
              </a:gs>
            </a:gsLst>
            <a:lin ang="13500000" scaled="1"/>
            <a:tileRect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9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8">
            <a:extLst>
              <a:ext uri="{FF2B5EF4-FFF2-40B4-BE49-F238E27FC236}">
                <a16:creationId xmlns:a16="http://schemas.microsoft.com/office/drawing/2014/main" id="{F70E8B82-F545-96EA-ADD4-F000BB339E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628" y="371891"/>
            <a:ext cx="5238396" cy="1093422"/>
          </a:xfrm>
        </p:spPr>
        <p:txBody>
          <a:bodyPr vert="horz"/>
          <a:lstStyle>
            <a:lvl1pPr marL="0" algn="l" defTabSz="77898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ru-RU" sz="4000" b="1" i="0" kern="1200" dirty="0">
                <a:solidFill>
                  <a:srgbClr val="00313C"/>
                </a:solidFill>
                <a:latin typeface="Arial" panose="020B0604020202020204" pitchFamily="34" charset="0"/>
                <a:ea typeface="Roboto SemiBold" pitchFamily="34" charset="-122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в 2 строки</a:t>
            </a:r>
          </a:p>
        </p:txBody>
      </p:sp>
      <p:sp>
        <p:nvSpPr>
          <p:cNvPr id="5" name="Текст 7">
            <a:extLst>
              <a:ext uri="{FF2B5EF4-FFF2-40B4-BE49-F238E27FC236}">
                <a16:creationId xmlns:a16="http://schemas.microsoft.com/office/drawing/2014/main" id="{ACACEC16-1EB2-CBB7-0A2C-E6D2E4B242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5628" y="1659477"/>
            <a:ext cx="5227379" cy="276999"/>
          </a:xfrm>
        </p:spPr>
        <p:txBody>
          <a:bodyPr>
            <a:spAutoFit/>
          </a:bodyPr>
          <a:lstStyle>
            <a:lvl1pPr>
              <a:defRPr lang="ru-RU" sz="1800" b="0" i="0" kern="1200" dirty="0">
                <a:solidFill>
                  <a:schemeClr val="tx1"/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</a:lstStyle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/>
              <a:t>Подзаголовок (заполняется по необходимости)</a:t>
            </a:r>
          </a:p>
        </p:txBody>
      </p:sp>
      <p:sp>
        <p:nvSpPr>
          <p:cNvPr id="25" name="Текст 2">
            <a:extLst>
              <a:ext uri="{FF2B5EF4-FFF2-40B4-BE49-F238E27FC236}">
                <a16:creationId xmlns:a16="http://schemas.microsoft.com/office/drawing/2014/main" id="{76B91180-48BB-5BE5-DAEB-0EE8C1A270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1241" y="3808655"/>
            <a:ext cx="3920759" cy="384721"/>
          </a:xfrm>
        </p:spPr>
        <p:txBody>
          <a:bodyPr>
            <a:spAutoFit/>
          </a:bodyPr>
          <a:lstStyle>
            <a:lvl2pPr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marL="0" lvl="1" indent="0" algn="l" defTabSz="778986" rtl="0" eaLnBrk="1" fontAlgn="base" latinLnBrk="0" hangingPunct="1">
              <a:lnSpc>
                <a:spcPts val="148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ru-RU" dirty="0"/>
              <a:t>Имя Фамилия,</a:t>
            </a:r>
          </a:p>
          <a:p>
            <a:pPr marL="0" lvl="1" indent="0" algn="l" defTabSz="778986" rtl="0" eaLnBrk="1" fontAlgn="base" latinLnBrk="0" hangingPunct="1">
              <a:lnSpc>
                <a:spcPts val="148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ru-RU" dirty="0"/>
              <a:t>Должность</a:t>
            </a:r>
          </a:p>
        </p:txBody>
      </p:sp>
      <p:sp>
        <p:nvSpPr>
          <p:cNvPr id="26" name="Текст 12">
            <a:extLst>
              <a:ext uri="{FF2B5EF4-FFF2-40B4-BE49-F238E27FC236}">
                <a16:creationId xmlns:a16="http://schemas.microsoft.com/office/drawing/2014/main" id="{93A3ECC7-A21E-7499-D5B5-E5CBA3D4387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628" y="4686179"/>
            <a:ext cx="3592522" cy="262059"/>
          </a:xfrm>
          <a:prstGeom prst="rect">
            <a:avLst/>
          </a:prstGeom>
          <a:effectLst/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0" baseline="0">
                <a:solidFill>
                  <a:schemeClr val="tx2"/>
                </a:solidFill>
                <a:effectLst/>
              </a:defRPr>
            </a:lvl1pPr>
            <a:lvl3pPr>
              <a:defRPr lang="ru-RU" sz="1400" b="0" i="0" kern="1200" dirty="0">
                <a:solidFill>
                  <a:schemeClr val="accent1"/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3pPr>
          </a:lstStyle>
          <a:p>
            <a:pPr marL="0" lvl="2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ru-RU" dirty="0"/>
              <a:t>Месяц/Год</a:t>
            </a:r>
          </a:p>
        </p:txBody>
      </p:sp>
    </p:spTree>
    <p:extLst>
      <p:ext uri="{BB962C8B-B14F-4D97-AF65-F5344CB8AC3E}">
        <p14:creationId xmlns:p14="http://schemas.microsoft.com/office/powerpoint/2010/main" val="2771822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Т05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6">
            <a:extLst>
              <a:ext uri="{FF2B5EF4-FFF2-40B4-BE49-F238E27FC236}">
                <a16:creationId xmlns:a16="http://schemas.microsoft.com/office/drawing/2014/main" id="{2FBDA5E0-CA1A-65F1-ED17-C10F1491ABD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1072604 w 9144000"/>
              <a:gd name="connsiteY0" fmla="*/ 582669 h 5143500"/>
              <a:gd name="connsiteX1" fmla="*/ 1072584 w 9144000"/>
              <a:gd name="connsiteY1" fmla="*/ 582859 h 5143500"/>
              <a:gd name="connsiteX2" fmla="*/ 1072603 w 9144000"/>
              <a:gd name="connsiteY2" fmla="*/ 582669 h 5143500"/>
              <a:gd name="connsiteX3" fmla="*/ 1369198 w 9144000"/>
              <a:gd name="connsiteY3" fmla="*/ 492617 h 5143500"/>
              <a:gd name="connsiteX4" fmla="*/ 1398683 w 9144000"/>
              <a:gd name="connsiteY4" fmla="*/ 492617 h 5143500"/>
              <a:gd name="connsiteX5" fmla="*/ 1393955 w 9144000"/>
              <a:gd name="connsiteY5" fmla="*/ 543661 h 5143500"/>
              <a:gd name="connsiteX6" fmla="*/ 1364780 w 9144000"/>
              <a:gd name="connsiteY6" fmla="*/ 543661 h 5143500"/>
              <a:gd name="connsiteX7" fmla="*/ 1959479 w 9144000"/>
              <a:gd name="connsiteY7" fmla="*/ 399656 h 5143500"/>
              <a:gd name="connsiteX8" fmla="*/ 1988417 w 9144000"/>
              <a:gd name="connsiteY8" fmla="*/ 399981 h 5143500"/>
              <a:gd name="connsiteX9" fmla="*/ 1981589 w 9144000"/>
              <a:gd name="connsiteY9" fmla="*/ 468263 h 5143500"/>
              <a:gd name="connsiteX10" fmla="*/ 1952651 w 9144000"/>
              <a:gd name="connsiteY10" fmla="*/ 468263 h 5143500"/>
              <a:gd name="connsiteX11" fmla="*/ 1114443 w 9144000"/>
              <a:gd name="connsiteY11" fmla="*/ 362788 h 5143500"/>
              <a:gd name="connsiteX12" fmla="*/ 1114210 w 9144000"/>
              <a:gd name="connsiteY12" fmla="*/ 365089 h 5143500"/>
              <a:gd name="connsiteX13" fmla="*/ 1114210 w 9144000"/>
              <a:gd name="connsiteY13" fmla="*/ 365088 h 5143500"/>
              <a:gd name="connsiteX14" fmla="*/ 976557 w 9144000"/>
              <a:gd name="connsiteY14" fmla="*/ 336310 h 5143500"/>
              <a:gd name="connsiteX15" fmla="*/ 952100 w 9144000"/>
              <a:gd name="connsiteY15" fmla="*/ 608940 h 5143500"/>
              <a:gd name="connsiteX16" fmla="*/ 986960 w 9144000"/>
              <a:gd name="connsiteY16" fmla="*/ 608940 h 5143500"/>
              <a:gd name="connsiteX17" fmla="*/ 1040642 w 9144000"/>
              <a:gd name="connsiteY17" fmla="*/ 608940 h 5143500"/>
              <a:gd name="connsiteX18" fmla="*/ 1044511 w 9144000"/>
              <a:gd name="connsiteY18" fmla="*/ 608940 h 5143500"/>
              <a:gd name="connsiteX19" fmla="*/ 1044511 w 9144000"/>
              <a:gd name="connsiteY19" fmla="*/ 608550 h 5143500"/>
              <a:gd name="connsiteX20" fmla="*/ 1047212 w 9144000"/>
              <a:gd name="connsiteY20" fmla="*/ 608278 h 5143500"/>
              <a:gd name="connsiteX21" fmla="*/ 1063693 w 9144000"/>
              <a:gd name="connsiteY21" fmla="*/ 599393 h 5143500"/>
              <a:gd name="connsiteX22" fmla="*/ 1069616 w 9144000"/>
              <a:gd name="connsiteY22" fmla="*/ 590607 h 5143500"/>
              <a:gd name="connsiteX23" fmla="*/ 1070680 w 9144000"/>
              <a:gd name="connsiteY23" fmla="*/ 589030 h 5143500"/>
              <a:gd name="connsiteX24" fmla="*/ 1072579 w 9144000"/>
              <a:gd name="connsiteY24" fmla="*/ 582912 h 5143500"/>
              <a:gd name="connsiteX25" fmla="*/ 1072584 w 9144000"/>
              <a:gd name="connsiteY25" fmla="*/ 582859 h 5143500"/>
              <a:gd name="connsiteX26" fmla="*/ 1109730 w 9144000"/>
              <a:gd name="connsiteY26" fmla="*/ 485878 h 5143500"/>
              <a:gd name="connsiteX27" fmla="*/ 1097365 w 9144000"/>
              <a:gd name="connsiteY27" fmla="*/ 608940 h 5143500"/>
              <a:gd name="connsiteX28" fmla="*/ 1213696 w 9144000"/>
              <a:gd name="connsiteY28" fmla="*/ 608940 h 5143500"/>
              <a:gd name="connsiteX29" fmla="*/ 1238154 w 9144000"/>
              <a:gd name="connsiteY29" fmla="*/ 336310 h 5143500"/>
              <a:gd name="connsiteX30" fmla="*/ 1205981 w 9144000"/>
              <a:gd name="connsiteY30" fmla="*/ 336310 h 5143500"/>
              <a:gd name="connsiteX31" fmla="*/ 1146424 w 9144000"/>
              <a:gd name="connsiteY31" fmla="*/ 336310 h 5143500"/>
              <a:gd name="connsiteX32" fmla="*/ 1142381 w 9144000"/>
              <a:gd name="connsiteY32" fmla="*/ 336310 h 5143500"/>
              <a:gd name="connsiteX33" fmla="*/ 1142381 w 9144000"/>
              <a:gd name="connsiteY33" fmla="*/ 336717 h 5143500"/>
              <a:gd name="connsiteX34" fmla="*/ 1139854 w 9144000"/>
              <a:gd name="connsiteY34" fmla="*/ 336972 h 5143500"/>
              <a:gd name="connsiteX35" fmla="*/ 1123374 w 9144000"/>
              <a:gd name="connsiteY35" fmla="*/ 345858 h 5143500"/>
              <a:gd name="connsiteX36" fmla="*/ 1116745 w 9144000"/>
              <a:gd name="connsiteY36" fmla="*/ 355689 h 5143500"/>
              <a:gd name="connsiteX37" fmla="*/ 1116388 w 9144000"/>
              <a:gd name="connsiteY37" fmla="*/ 356220 h 5143500"/>
              <a:gd name="connsiteX38" fmla="*/ 1114488 w 9144000"/>
              <a:gd name="connsiteY38" fmla="*/ 362339 h 5143500"/>
              <a:gd name="connsiteX39" fmla="*/ 1114443 w 9144000"/>
              <a:gd name="connsiteY39" fmla="*/ 362788 h 5143500"/>
              <a:gd name="connsiteX40" fmla="*/ 1077630 w 9144000"/>
              <a:gd name="connsiteY40" fmla="*/ 476280 h 5143500"/>
              <a:gd name="connsiteX41" fmla="*/ 1092415 w 9144000"/>
              <a:gd name="connsiteY41" fmla="*/ 336310 h 5143500"/>
              <a:gd name="connsiteX42" fmla="*/ 715068 w 9144000"/>
              <a:gd name="connsiteY42" fmla="*/ 336310 h 5143500"/>
              <a:gd name="connsiteX43" fmla="*/ 685031 w 9144000"/>
              <a:gd name="connsiteY43" fmla="*/ 356220 h 5143500"/>
              <a:gd name="connsiteX44" fmla="*/ 683600 w 9144000"/>
              <a:gd name="connsiteY44" fmla="*/ 360829 h 5143500"/>
              <a:gd name="connsiteX45" fmla="*/ 682668 w 9144000"/>
              <a:gd name="connsiteY45" fmla="*/ 370886 h 5143500"/>
              <a:gd name="connsiteX46" fmla="*/ 682669 w 9144000"/>
              <a:gd name="connsiteY46" fmla="*/ 370887 h 5143500"/>
              <a:gd name="connsiteX47" fmla="*/ 663648 w 9144000"/>
              <a:gd name="connsiteY47" fmla="*/ 576234 h 5143500"/>
              <a:gd name="connsiteX48" fmla="*/ 663574 w 9144000"/>
              <a:gd name="connsiteY48" fmla="*/ 577024 h 5143500"/>
              <a:gd name="connsiteX49" fmla="*/ 664233 w 9144000"/>
              <a:gd name="connsiteY49" fmla="*/ 583561 h 5143500"/>
              <a:gd name="connsiteX50" fmla="*/ 689600 w 9144000"/>
              <a:gd name="connsiteY50" fmla="*/ 608928 h 5143500"/>
              <a:gd name="connsiteX51" fmla="*/ 689718 w 9144000"/>
              <a:gd name="connsiteY51" fmla="*/ 608940 h 5143500"/>
              <a:gd name="connsiteX52" fmla="*/ 702621 w 9144000"/>
              <a:gd name="connsiteY52" fmla="*/ 608940 h 5143500"/>
              <a:gd name="connsiteX53" fmla="*/ 887067 w 9144000"/>
              <a:gd name="connsiteY53" fmla="*/ 608940 h 5143500"/>
              <a:gd name="connsiteX54" fmla="*/ 887068 w 9144000"/>
              <a:gd name="connsiteY54" fmla="*/ 608940 h 5143500"/>
              <a:gd name="connsiteX55" fmla="*/ 899969 w 9144000"/>
              <a:gd name="connsiteY55" fmla="*/ 608940 h 5143500"/>
              <a:gd name="connsiteX56" fmla="*/ 900089 w 9144000"/>
              <a:gd name="connsiteY56" fmla="*/ 608928 h 5143500"/>
              <a:gd name="connsiteX57" fmla="*/ 923555 w 9144000"/>
              <a:gd name="connsiteY57" fmla="*/ 589681 h 5143500"/>
              <a:gd name="connsiteX58" fmla="*/ 924532 w 9144000"/>
              <a:gd name="connsiteY58" fmla="*/ 586533 h 5143500"/>
              <a:gd name="connsiteX59" fmla="*/ 925519 w 9144000"/>
              <a:gd name="connsiteY59" fmla="*/ 575886 h 5143500"/>
              <a:gd name="connsiteX60" fmla="*/ 925831 w 9144000"/>
              <a:gd name="connsiteY60" fmla="*/ 575886 h 5143500"/>
              <a:gd name="connsiteX61" fmla="*/ 925831 w 9144000"/>
              <a:gd name="connsiteY61" fmla="*/ 572515 h 5143500"/>
              <a:gd name="connsiteX62" fmla="*/ 933801 w 9144000"/>
              <a:gd name="connsiteY62" fmla="*/ 486470 h 5143500"/>
              <a:gd name="connsiteX63" fmla="*/ 817697 w 9144000"/>
              <a:gd name="connsiteY63" fmla="*/ 486470 h 5143500"/>
              <a:gd name="connsiteX64" fmla="*/ 812399 w 9144000"/>
              <a:gd name="connsiteY64" fmla="*/ 543661 h 5143500"/>
              <a:gd name="connsiteX65" fmla="*/ 782356 w 9144000"/>
              <a:gd name="connsiteY65" fmla="*/ 543661 h 5143500"/>
              <a:gd name="connsiteX66" fmla="*/ 795564 w 9144000"/>
              <a:gd name="connsiteY66" fmla="*/ 401073 h 5143500"/>
              <a:gd name="connsiteX67" fmla="*/ 825607 w 9144000"/>
              <a:gd name="connsiteY67" fmla="*/ 401073 h 5143500"/>
              <a:gd name="connsiteX68" fmla="*/ 820739 w 9144000"/>
              <a:gd name="connsiteY68" fmla="*/ 453631 h 5143500"/>
              <a:gd name="connsiteX69" fmla="*/ 936843 w 9144000"/>
              <a:gd name="connsiteY69" fmla="*/ 453631 h 5143500"/>
              <a:gd name="connsiteX70" fmla="*/ 943979 w 9144000"/>
              <a:gd name="connsiteY70" fmla="*/ 376599 h 5143500"/>
              <a:gd name="connsiteX71" fmla="*/ 944919 w 9144000"/>
              <a:gd name="connsiteY71" fmla="*/ 366447 h 5143500"/>
              <a:gd name="connsiteX72" fmla="*/ 944462 w 9144000"/>
              <a:gd name="connsiteY72" fmla="*/ 361905 h 5143500"/>
              <a:gd name="connsiteX73" fmla="*/ 919095 w 9144000"/>
              <a:gd name="connsiteY73" fmla="*/ 336538 h 5143500"/>
              <a:gd name="connsiteX74" fmla="*/ 916825 w 9144000"/>
              <a:gd name="connsiteY74" fmla="*/ 336310 h 5143500"/>
              <a:gd name="connsiteX75" fmla="*/ 908224 w 9144000"/>
              <a:gd name="connsiteY75" fmla="*/ 336310 h 5143500"/>
              <a:gd name="connsiteX76" fmla="*/ 1818985 w 9144000"/>
              <a:gd name="connsiteY76" fmla="*/ 336280 h 5143500"/>
              <a:gd name="connsiteX77" fmla="*/ 1703832 w 9144000"/>
              <a:gd name="connsiteY77" fmla="*/ 336294 h 5143500"/>
              <a:gd name="connsiteX78" fmla="*/ 1692459 w 9144000"/>
              <a:gd name="connsiteY78" fmla="*/ 460889 h 5143500"/>
              <a:gd name="connsiteX79" fmla="*/ 1663495 w 9144000"/>
              <a:gd name="connsiteY79" fmla="*/ 460456 h 5143500"/>
              <a:gd name="connsiteX80" fmla="*/ 1674348 w 9144000"/>
              <a:gd name="connsiteY80" fmla="*/ 336296 h 5143500"/>
              <a:gd name="connsiteX81" fmla="*/ 1557673 w 9144000"/>
              <a:gd name="connsiteY81" fmla="*/ 336310 h 5143500"/>
              <a:gd name="connsiteX82" fmla="*/ 1545183 w 9144000"/>
              <a:gd name="connsiteY82" fmla="*/ 477578 h 5143500"/>
              <a:gd name="connsiteX83" fmla="*/ 1544330 w 9144000"/>
              <a:gd name="connsiteY83" fmla="*/ 487217 h 5143500"/>
              <a:gd name="connsiteX84" fmla="*/ 1544805 w 9144000"/>
              <a:gd name="connsiteY84" fmla="*/ 491932 h 5143500"/>
              <a:gd name="connsiteX85" fmla="*/ 1564053 w 9144000"/>
              <a:gd name="connsiteY85" fmla="*/ 515399 h 5143500"/>
              <a:gd name="connsiteX86" fmla="*/ 1569502 w 9144000"/>
              <a:gd name="connsiteY86" fmla="*/ 517091 h 5143500"/>
              <a:gd name="connsiteX87" fmla="*/ 1583887 w 9144000"/>
              <a:gd name="connsiteY87" fmla="*/ 517120 h 5143500"/>
              <a:gd name="connsiteX88" fmla="*/ 1686932 w 9144000"/>
              <a:gd name="connsiteY88" fmla="*/ 517328 h 5143500"/>
              <a:gd name="connsiteX89" fmla="*/ 1684804 w 9144000"/>
              <a:gd name="connsiteY89" fmla="*/ 544527 h 5143500"/>
              <a:gd name="connsiteX90" fmla="*/ 1539278 w 9144000"/>
              <a:gd name="connsiteY90" fmla="*/ 544347 h 5143500"/>
              <a:gd name="connsiteX91" fmla="*/ 1533567 w 9144000"/>
              <a:gd name="connsiteY91" fmla="*/ 608940 h 5143500"/>
              <a:gd name="connsiteX92" fmla="*/ 1759039 w 9144000"/>
              <a:gd name="connsiteY92" fmla="*/ 608940 h 5143500"/>
              <a:gd name="connsiteX93" fmla="*/ 1759040 w 9144000"/>
              <a:gd name="connsiteY93" fmla="*/ 608940 h 5143500"/>
              <a:gd name="connsiteX94" fmla="*/ 1771942 w 9144000"/>
              <a:gd name="connsiteY94" fmla="*/ 608940 h 5143500"/>
              <a:gd name="connsiteX95" fmla="*/ 1772060 w 9144000"/>
              <a:gd name="connsiteY95" fmla="*/ 608928 h 5143500"/>
              <a:gd name="connsiteX96" fmla="*/ 1795528 w 9144000"/>
              <a:gd name="connsiteY96" fmla="*/ 589681 h 5143500"/>
              <a:gd name="connsiteX97" fmla="*/ 1796504 w 9144000"/>
              <a:gd name="connsiteY97" fmla="*/ 586533 h 5143500"/>
              <a:gd name="connsiteX98" fmla="*/ 1797490 w 9144000"/>
              <a:gd name="connsiteY98" fmla="*/ 575886 h 5143500"/>
              <a:gd name="connsiteX99" fmla="*/ 1797803 w 9144000"/>
              <a:gd name="connsiteY99" fmla="*/ 575886 h 5143500"/>
              <a:gd name="connsiteX100" fmla="*/ 1797803 w 9144000"/>
              <a:gd name="connsiteY100" fmla="*/ 572515 h 5143500"/>
              <a:gd name="connsiteX101" fmla="*/ 1528570 w 9144000"/>
              <a:gd name="connsiteY101" fmla="*/ 336280 h 5143500"/>
              <a:gd name="connsiteX102" fmla="*/ 1267258 w 9144000"/>
              <a:gd name="connsiteY102" fmla="*/ 336310 h 5143500"/>
              <a:gd name="connsiteX103" fmla="*/ 1243152 w 9144000"/>
              <a:gd name="connsiteY103" fmla="*/ 608940 h 5143500"/>
              <a:gd name="connsiteX104" fmla="*/ 1468623 w 9144000"/>
              <a:gd name="connsiteY104" fmla="*/ 608940 h 5143500"/>
              <a:gd name="connsiteX105" fmla="*/ 1468624 w 9144000"/>
              <a:gd name="connsiteY105" fmla="*/ 608940 h 5143500"/>
              <a:gd name="connsiteX106" fmla="*/ 1481527 w 9144000"/>
              <a:gd name="connsiteY106" fmla="*/ 608940 h 5143500"/>
              <a:gd name="connsiteX107" fmla="*/ 1481645 w 9144000"/>
              <a:gd name="connsiteY107" fmla="*/ 608928 h 5143500"/>
              <a:gd name="connsiteX108" fmla="*/ 1505112 w 9144000"/>
              <a:gd name="connsiteY108" fmla="*/ 589681 h 5143500"/>
              <a:gd name="connsiteX109" fmla="*/ 1506089 w 9144000"/>
              <a:gd name="connsiteY109" fmla="*/ 586533 h 5143500"/>
              <a:gd name="connsiteX110" fmla="*/ 1507075 w 9144000"/>
              <a:gd name="connsiteY110" fmla="*/ 575886 h 5143500"/>
              <a:gd name="connsiteX111" fmla="*/ 1507387 w 9144000"/>
              <a:gd name="connsiteY111" fmla="*/ 575886 h 5143500"/>
              <a:gd name="connsiteX112" fmla="*/ 1507387 w 9144000"/>
              <a:gd name="connsiteY112" fmla="*/ 572515 h 5143500"/>
              <a:gd name="connsiteX113" fmla="*/ 1513926 w 9144000"/>
              <a:gd name="connsiteY113" fmla="*/ 501930 h 5143500"/>
              <a:gd name="connsiteX114" fmla="*/ 1514182 w 9144000"/>
              <a:gd name="connsiteY114" fmla="*/ 501930 h 5143500"/>
              <a:gd name="connsiteX115" fmla="*/ 1517312 w 9144000"/>
              <a:gd name="connsiteY115" fmla="*/ 468143 h 5143500"/>
              <a:gd name="connsiteX116" fmla="*/ 1518253 w 9144000"/>
              <a:gd name="connsiteY116" fmla="*/ 457991 h 5143500"/>
              <a:gd name="connsiteX117" fmla="*/ 1517795 w 9144000"/>
              <a:gd name="connsiteY117" fmla="*/ 453449 h 5143500"/>
              <a:gd name="connsiteX118" fmla="*/ 1492428 w 9144000"/>
              <a:gd name="connsiteY118" fmla="*/ 428082 h 5143500"/>
              <a:gd name="connsiteX119" fmla="*/ 1490159 w 9144000"/>
              <a:gd name="connsiteY119" fmla="*/ 427853 h 5143500"/>
              <a:gd name="connsiteX120" fmla="*/ 1481557 w 9144000"/>
              <a:gd name="connsiteY120" fmla="*/ 427853 h 5143500"/>
              <a:gd name="connsiteX121" fmla="*/ 1374802 w 9144000"/>
              <a:gd name="connsiteY121" fmla="*/ 427853 h 5143500"/>
              <a:gd name="connsiteX122" fmla="*/ 1377120 w 9144000"/>
              <a:gd name="connsiteY122" fmla="*/ 401073 h 5143500"/>
              <a:gd name="connsiteX123" fmla="*/ 1523169 w 9144000"/>
              <a:gd name="connsiteY123" fmla="*/ 400740 h 5143500"/>
              <a:gd name="connsiteX124" fmla="*/ 1848535 w 9144000"/>
              <a:gd name="connsiteY124" fmla="*/ 335659 h 5143500"/>
              <a:gd name="connsiteX125" fmla="*/ 1832109 w 9144000"/>
              <a:gd name="connsiteY125" fmla="*/ 524134 h 5143500"/>
              <a:gd name="connsiteX126" fmla="*/ 1824724 w 9144000"/>
              <a:gd name="connsiteY126" fmla="*/ 608874 h 5143500"/>
              <a:gd name="connsiteX127" fmla="*/ 1940556 w 9144000"/>
              <a:gd name="connsiteY127" fmla="*/ 608940 h 5143500"/>
              <a:gd name="connsiteX128" fmla="*/ 1947847 w 9144000"/>
              <a:gd name="connsiteY128" fmla="*/ 524134 h 5143500"/>
              <a:gd name="connsiteX129" fmla="*/ 2057502 w 9144000"/>
              <a:gd name="connsiteY129" fmla="*/ 524134 h 5143500"/>
              <a:gd name="connsiteX130" fmla="*/ 2057503 w 9144000"/>
              <a:gd name="connsiteY130" fmla="*/ 524134 h 5143500"/>
              <a:gd name="connsiteX131" fmla="*/ 2070416 w 9144000"/>
              <a:gd name="connsiteY131" fmla="*/ 524134 h 5143500"/>
              <a:gd name="connsiteX132" fmla="*/ 2070534 w 9144000"/>
              <a:gd name="connsiteY132" fmla="*/ 524121 h 5143500"/>
              <a:gd name="connsiteX133" fmla="*/ 2094022 w 9144000"/>
              <a:gd name="connsiteY133" fmla="*/ 504174 h 5143500"/>
              <a:gd name="connsiteX134" fmla="*/ 2095000 w 9144000"/>
              <a:gd name="connsiteY134" fmla="*/ 500912 h 5143500"/>
              <a:gd name="connsiteX135" fmla="*/ 2095987 w 9144000"/>
              <a:gd name="connsiteY135" fmla="*/ 489878 h 5143500"/>
              <a:gd name="connsiteX136" fmla="*/ 2096299 w 9144000"/>
              <a:gd name="connsiteY136" fmla="*/ 489878 h 5143500"/>
              <a:gd name="connsiteX137" fmla="*/ 2096299 w 9144000"/>
              <a:gd name="connsiteY137" fmla="*/ 486384 h 5143500"/>
              <a:gd name="connsiteX138" fmla="*/ 2102845 w 9144000"/>
              <a:gd name="connsiteY138" fmla="*/ 413232 h 5143500"/>
              <a:gd name="connsiteX139" fmla="*/ 2103101 w 9144000"/>
              <a:gd name="connsiteY139" fmla="*/ 413232 h 5143500"/>
              <a:gd name="connsiteX140" fmla="*/ 2104495 w 9144000"/>
              <a:gd name="connsiteY140" fmla="*/ 397641 h 5143500"/>
              <a:gd name="connsiteX141" fmla="*/ 2104496 w 9144000"/>
              <a:gd name="connsiteY141" fmla="*/ 397641 h 5143500"/>
              <a:gd name="connsiteX142" fmla="*/ 2106233 w 9144000"/>
              <a:gd name="connsiteY142" fmla="*/ 378216 h 5143500"/>
              <a:gd name="connsiteX143" fmla="*/ 2107174 w 9144000"/>
              <a:gd name="connsiteY143" fmla="*/ 367696 h 5143500"/>
              <a:gd name="connsiteX144" fmla="*/ 2106716 w 9144000"/>
              <a:gd name="connsiteY144" fmla="*/ 362989 h 5143500"/>
              <a:gd name="connsiteX145" fmla="*/ 2081327 w 9144000"/>
              <a:gd name="connsiteY145" fmla="*/ 336700 h 5143500"/>
              <a:gd name="connsiteX146" fmla="*/ 2079056 w 9144000"/>
              <a:gd name="connsiteY146" fmla="*/ 336462 h 5143500"/>
              <a:gd name="connsiteX147" fmla="*/ 2070447 w 9144000"/>
              <a:gd name="connsiteY147" fmla="*/ 336462 h 5143500"/>
              <a:gd name="connsiteX148" fmla="*/ 1963600 w 9144000"/>
              <a:gd name="connsiteY148" fmla="*/ 336462 h 5143500"/>
              <a:gd name="connsiteX149" fmla="*/ 1963666 w 9144000"/>
              <a:gd name="connsiteY149" fmla="*/ 335659 h 5143500"/>
              <a:gd name="connsiteX150" fmla="*/ 0 w 9144000"/>
              <a:gd name="connsiteY150" fmla="*/ 0 h 5143500"/>
              <a:gd name="connsiteX151" fmla="*/ 9144000 w 9144000"/>
              <a:gd name="connsiteY151" fmla="*/ 0 h 5143500"/>
              <a:gd name="connsiteX152" fmla="*/ 9144000 w 9144000"/>
              <a:gd name="connsiteY152" fmla="*/ 5143500 h 5143500"/>
              <a:gd name="connsiteX153" fmla="*/ 0 w 9144000"/>
              <a:gd name="connsiteY15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9144000" h="5143500">
                <a:moveTo>
                  <a:pt x="1072604" y="582669"/>
                </a:moveTo>
                <a:lnTo>
                  <a:pt x="1072584" y="582859"/>
                </a:lnTo>
                <a:lnTo>
                  <a:pt x="1072603" y="582669"/>
                </a:lnTo>
                <a:close/>
                <a:moveTo>
                  <a:pt x="1369198" y="492617"/>
                </a:moveTo>
                <a:lnTo>
                  <a:pt x="1398683" y="492617"/>
                </a:lnTo>
                <a:lnTo>
                  <a:pt x="1393955" y="543661"/>
                </a:lnTo>
                <a:lnTo>
                  <a:pt x="1364780" y="543661"/>
                </a:lnTo>
                <a:close/>
                <a:moveTo>
                  <a:pt x="1959479" y="399656"/>
                </a:moveTo>
                <a:lnTo>
                  <a:pt x="1988417" y="399981"/>
                </a:lnTo>
                <a:lnTo>
                  <a:pt x="1981589" y="468263"/>
                </a:lnTo>
                <a:lnTo>
                  <a:pt x="1952651" y="468263"/>
                </a:lnTo>
                <a:close/>
                <a:moveTo>
                  <a:pt x="1114443" y="362788"/>
                </a:moveTo>
                <a:lnTo>
                  <a:pt x="1114210" y="365089"/>
                </a:lnTo>
                <a:lnTo>
                  <a:pt x="1114210" y="365088"/>
                </a:lnTo>
                <a:close/>
                <a:moveTo>
                  <a:pt x="976557" y="336310"/>
                </a:moveTo>
                <a:lnTo>
                  <a:pt x="952100" y="608940"/>
                </a:lnTo>
                <a:lnTo>
                  <a:pt x="986960" y="608940"/>
                </a:lnTo>
                <a:lnTo>
                  <a:pt x="1040642" y="608940"/>
                </a:lnTo>
                <a:lnTo>
                  <a:pt x="1044511" y="608940"/>
                </a:lnTo>
                <a:lnTo>
                  <a:pt x="1044511" y="608550"/>
                </a:lnTo>
                <a:lnTo>
                  <a:pt x="1047212" y="608278"/>
                </a:lnTo>
                <a:cubicBezTo>
                  <a:pt x="1053578" y="606976"/>
                  <a:pt x="1059268" y="603817"/>
                  <a:pt x="1063693" y="599393"/>
                </a:cubicBezTo>
                <a:lnTo>
                  <a:pt x="1069616" y="590607"/>
                </a:lnTo>
                <a:lnTo>
                  <a:pt x="1070680" y="589030"/>
                </a:lnTo>
                <a:cubicBezTo>
                  <a:pt x="1071504" y="587080"/>
                  <a:pt x="1072145" y="585034"/>
                  <a:pt x="1072579" y="582912"/>
                </a:cubicBezTo>
                <a:lnTo>
                  <a:pt x="1072584" y="582859"/>
                </a:lnTo>
                <a:lnTo>
                  <a:pt x="1109730" y="485878"/>
                </a:lnTo>
                <a:lnTo>
                  <a:pt x="1097365" y="608940"/>
                </a:lnTo>
                <a:lnTo>
                  <a:pt x="1213696" y="608940"/>
                </a:lnTo>
                <a:lnTo>
                  <a:pt x="1238154" y="336310"/>
                </a:lnTo>
                <a:lnTo>
                  <a:pt x="1205981" y="336310"/>
                </a:lnTo>
                <a:lnTo>
                  <a:pt x="1146424" y="336310"/>
                </a:lnTo>
                <a:lnTo>
                  <a:pt x="1142381" y="336310"/>
                </a:lnTo>
                <a:lnTo>
                  <a:pt x="1142381" y="336717"/>
                </a:lnTo>
                <a:lnTo>
                  <a:pt x="1139854" y="336972"/>
                </a:lnTo>
                <a:cubicBezTo>
                  <a:pt x="1133488" y="338275"/>
                  <a:pt x="1127798" y="341434"/>
                  <a:pt x="1123374" y="345858"/>
                </a:cubicBezTo>
                <a:lnTo>
                  <a:pt x="1116745" y="355689"/>
                </a:lnTo>
                <a:lnTo>
                  <a:pt x="1116388" y="356220"/>
                </a:lnTo>
                <a:cubicBezTo>
                  <a:pt x="1115562" y="358170"/>
                  <a:pt x="1114922" y="360217"/>
                  <a:pt x="1114488" y="362339"/>
                </a:cubicBezTo>
                <a:lnTo>
                  <a:pt x="1114443" y="362788"/>
                </a:lnTo>
                <a:lnTo>
                  <a:pt x="1077630" y="476280"/>
                </a:lnTo>
                <a:lnTo>
                  <a:pt x="1092415" y="336310"/>
                </a:lnTo>
                <a:close/>
                <a:moveTo>
                  <a:pt x="715068" y="336310"/>
                </a:moveTo>
                <a:cubicBezTo>
                  <a:pt x="701565" y="336310"/>
                  <a:pt x="689980" y="344520"/>
                  <a:pt x="685031" y="356220"/>
                </a:cubicBezTo>
                <a:lnTo>
                  <a:pt x="683600" y="360829"/>
                </a:lnTo>
                <a:lnTo>
                  <a:pt x="682668" y="370886"/>
                </a:lnTo>
                <a:cubicBezTo>
                  <a:pt x="682668" y="370887"/>
                  <a:pt x="682669" y="370887"/>
                  <a:pt x="682669" y="370887"/>
                </a:cubicBezTo>
                <a:lnTo>
                  <a:pt x="663648" y="576234"/>
                </a:lnTo>
                <a:lnTo>
                  <a:pt x="663574" y="577024"/>
                </a:lnTo>
                <a:lnTo>
                  <a:pt x="664233" y="583561"/>
                </a:lnTo>
                <a:cubicBezTo>
                  <a:pt x="666839" y="596294"/>
                  <a:pt x="676867" y="606322"/>
                  <a:pt x="689600" y="608928"/>
                </a:cubicBezTo>
                <a:lnTo>
                  <a:pt x="689718" y="608940"/>
                </a:lnTo>
                <a:lnTo>
                  <a:pt x="702621" y="608940"/>
                </a:lnTo>
                <a:lnTo>
                  <a:pt x="887067" y="608940"/>
                </a:lnTo>
                <a:lnTo>
                  <a:pt x="887068" y="608940"/>
                </a:lnTo>
                <a:lnTo>
                  <a:pt x="899969" y="608940"/>
                </a:lnTo>
                <a:lnTo>
                  <a:pt x="900089" y="608928"/>
                </a:lnTo>
                <a:cubicBezTo>
                  <a:pt x="910699" y="606757"/>
                  <a:pt x="919431" y="599431"/>
                  <a:pt x="923555" y="589681"/>
                </a:cubicBezTo>
                <a:lnTo>
                  <a:pt x="924532" y="586533"/>
                </a:lnTo>
                <a:lnTo>
                  <a:pt x="925519" y="575886"/>
                </a:lnTo>
                <a:lnTo>
                  <a:pt x="925831" y="575886"/>
                </a:lnTo>
                <a:lnTo>
                  <a:pt x="925831" y="572515"/>
                </a:lnTo>
                <a:lnTo>
                  <a:pt x="933801" y="486470"/>
                </a:lnTo>
                <a:lnTo>
                  <a:pt x="817697" y="486470"/>
                </a:lnTo>
                <a:lnTo>
                  <a:pt x="812399" y="543661"/>
                </a:lnTo>
                <a:lnTo>
                  <a:pt x="782356" y="543661"/>
                </a:lnTo>
                <a:lnTo>
                  <a:pt x="795564" y="401073"/>
                </a:lnTo>
                <a:lnTo>
                  <a:pt x="825607" y="401073"/>
                </a:lnTo>
                <a:lnTo>
                  <a:pt x="820739" y="453631"/>
                </a:lnTo>
                <a:lnTo>
                  <a:pt x="936843" y="453631"/>
                </a:lnTo>
                <a:lnTo>
                  <a:pt x="943979" y="376599"/>
                </a:lnTo>
                <a:lnTo>
                  <a:pt x="944919" y="366447"/>
                </a:lnTo>
                <a:lnTo>
                  <a:pt x="944462" y="361905"/>
                </a:lnTo>
                <a:cubicBezTo>
                  <a:pt x="941856" y="349173"/>
                  <a:pt x="931827" y="339144"/>
                  <a:pt x="919095" y="336538"/>
                </a:cubicBezTo>
                <a:lnTo>
                  <a:pt x="916825" y="336310"/>
                </a:lnTo>
                <a:lnTo>
                  <a:pt x="908224" y="336310"/>
                </a:lnTo>
                <a:close/>
                <a:moveTo>
                  <a:pt x="1818985" y="336280"/>
                </a:moveTo>
                <a:lnTo>
                  <a:pt x="1703832" y="336294"/>
                </a:lnTo>
                <a:lnTo>
                  <a:pt x="1692459" y="460889"/>
                </a:lnTo>
                <a:lnTo>
                  <a:pt x="1663495" y="460456"/>
                </a:lnTo>
                <a:lnTo>
                  <a:pt x="1674348" y="336296"/>
                </a:lnTo>
                <a:lnTo>
                  <a:pt x="1557673" y="336310"/>
                </a:lnTo>
                <a:lnTo>
                  <a:pt x="1545183" y="477578"/>
                </a:lnTo>
                <a:lnTo>
                  <a:pt x="1544330" y="487217"/>
                </a:lnTo>
                <a:lnTo>
                  <a:pt x="1544805" y="491932"/>
                </a:lnTo>
                <a:cubicBezTo>
                  <a:pt x="1546977" y="502542"/>
                  <a:pt x="1554303" y="511275"/>
                  <a:pt x="1564053" y="515399"/>
                </a:cubicBezTo>
                <a:lnTo>
                  <a:pt x="1569502" y="517091"/>
                </a:lnTo>
                <a:lnTo>
                  <a:pt x="1583887" y="517120"/>
                </a:lnTo>
                <a:lnTo>
                  <a:pt x="1686932" y="517328"/>
                </a:lnTo>
                <a:lnTo>
                  <a:pt x="1684804" y="544527"/>
                </a:lnTo>
                <a:lnTo>
                  <a:pt x="1539278" y="544347"/>
                </a:lnTo>
                <a:lnTo>
                  <a:pt x="1533567" y="608940"/>
                </a:lnTo>
                <a:lnTo>
                  <a:pt x="1759039" y="608940"/>
                </a:lnTo>
                <a:lnTo>
                  <a:pt x="1759040" y="608940"/>
                </a:lnTo>
                <a:lnTo>
                  <a:pt x="1771942" y="608940"/>
                </a:lnTo>
                <a:lnTo>
                  <a:pt x="1772060" y="608928"/>
                </a:lnTo>
                <a:cubicBezTo>
                  <a:pt x="1782671" y="606757"/>
                  <a:pt x="1791403" y="599431"/>
                  <a:pt x="1795528" y="589681"/>
                </a:cubicBezTo>
                <a:lnTo>
                  <a:pt x="1796504" y="586533"/>
                </a:lnTo>
                <a:lnTo>
                  <a:pt x="1797490" y="575886"/>
                </a:lnTo>
                <a:lnTo>
                  <a:pt x="1797803" y="575886"/>
                </a:lnTo>
                <a:lnTo>
                  <a:pt x="1797803" y="572515"/>
                </a:lnTo>
                <a:close/>
                <a:moveTo>
                  <a:pt x="1528570" y="336280"/>
                </a:moveTo>
                <a:lnTo>
                  <a:pt x="1267258" y="336310"/>
                </a:lnTo>
                <a:lnTo>
                  <a:pt x="1243152" y="608940"/>
                </a:lnTo>
                <a:lnTo>
                  <a:pt x="1468623" y="608940"/>
                </a:lnTo>
                <a:lnTo>
                  <a:pt x="1468624" y="608940"/>
                </a:lnTo>
                <a:lnTo>
                  <a:pt x="1481527" y="608940"/>
                </a:lnTo>
                <a:lnTo>
                  <a:pt x="1481645" y="608928"/>
                </a:lnTo>
                <a:cubicBezTo>
                  <a:pt x="1492255" y="606757"/>
                  <a:pt x="1500988" y="599431"/>
                  <a:pt x="1505112" y="589681"/>
                </a:cubicBezTo>
                <a:lnTo>
                  <a:pt x="1506089" y="586533"/>
                </a:lnTo>
                <a:lnTo>
                  <a:pt x="1507075" y="575886"/>
                </a:lnTo>
                <a:lnTo>
                  <a:pt x="1507387" y="575886"/>
                </a:lnTo>
                <a:lnTo>
                  <a:pt x="1507387" y="572515"/>
                </a:lnTo>
                <a:lnTo>
                  <a:pt x="1513926" y="501930"/>
                </a:lnTo>
                <a:lnTo>
                  <a:pt x="1514182" y="501930"/>
                </a:lnTo>
                <a:lnTo>
                  <a:pt x="1517312" y="468143"/>
                </a:lnTo>
                <a:lnTo>
                  <a:pt x="1518253" y="457991"/>
                </a:lnTo>
                <a:lnTo>
                  <a:pt x="1517795" y="453449"/>
                </a:lnTo>
                <a:cubicBezTo>
                  <a:pt x="1515189" y="440716"/>
                  <a:pt x="1505161" y="430688"/>
                  <a:pt x="1492428" y="428082"/>
                </a:cubicBezTo>
                <a:lnTo>
                  <a:pt x="1490159" y="427853"/>
                </a:lnTo>
                <a:lnTo>
                  <a:pt x="1481557" y="427853"/>
                </a:lnTo>
                <a:lnTo>
                  <a:pt x="1374802" y="427853"/>
                </a:lnTo>
                <a:lnTo>
                  <a:pt x="1377120" y="401073"/>
                </a:lnTo>
                <a:lnTo>
                  <a:pt x="1523169" y="400740"/>
                </a:lnTo>
                <a:close/>
                <a:moveTo>
                  <a:pt x="1848535" y="335659"/>
                </a:moveTo>
                <a:lnTo>
                  <a:pt x="1832109" y="524134"/>
                </a:lnTo>
                <a:lnTo>
                  <a:pt x="1824724" y="608874"/>
                </a:lnTo>
                <a:lnTo>
                  <a:pt x="1940556" y="608940"/>
                </a:lnTo>
                <a:lnTo>
                  <a:pt x="1947847" y="524134"/>
                </a:lnTo>
                <a:lnTo>
                  <a:pt x="2057502" y="524134"/>
                </a:lnTo>
                <a:lnTo>
                  <a:pt x="2057503" y="524134"/>
                </a:lnTo>
                <a:lnTo>
                  <a:pt x="2070416" y="524134"/>
                </a:lnTo>
                <a:lnTo>
                  <a:pt x="2070534" y="524121"/>
                </a:lnTo>
                <a:cubicBezTo>
                  <a:pt x="2081154" y="521871"/>
                  <a:pt x="2089895" y="514279"/>
                  <a:pt x="2094022" y="504174"/>
                </a:cubicBezTo>
                <a:lnTo>
                  <a:pt x="2095000" y="500912"/>
                </a:lnTo>
                <a:lnTo>
                  <a:pt x="2095987" y="489878"/>
                </a:lnTo>
                <a:lnTo>
                  <a:pt x="2096299" y="489878"/>
                </a:lnTo>
                <a:lnTo>
                  <a:pt x="2096299" y="486384"/>
                </a:lnTo>
                <a:lnTo>
                  <a:pt x="2102845" y="413232"/>
                </a:lnTo>
                <a:lnTo>
                  <a:pt x="2103101" y="413232"/>
                </a:lnTo>
                <a:lnTo>
                  <a:pt x="2104495" y="397641"/>
                </a:lnTo>
                <a:lnTo>
                  <a:pt x="2104496" y="397641"/>
                </a:lnTo>
                <a:lnTo>
                  <a:pt x="2106233" y="378216"/>
                </a:lnTo>
                <a:lnTo>
                  <a:pt x="2107174" y="367696"/>
                </a:lnTo>
                <a:lnTo>
                  <a:pt x="2106716" y="362989"/>
                </a:lnTo>
                <a:cubicBezTo>
                  <a:pt x="2104109" y="349793"/>
                  <a:pt x="2094071" y="339400"/>
                  <a:pt x="2081327" y="336700"/>
                </a:cubicBezTo>
                <a:lnTo>
                  <a:pt x="2079056" y="336462"/>
                </a:lnTo>
                <a:lnTo>
                  <a:pt x="2070447" y="336462"/>
                </a:lnTo>
                <a:lnTo>
                  <a:pt x="1963600" y="336462"/>
                </a:lnTo>
                <a:lnTo>
                  <a:pt x="1963666" y="335659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rgbClr val="77E2C3"/>
              </a:gs>
            </a:gsLst>
            <a:lin ang="13500000" scaled="1"/>
            <a:tileRect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1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55628" y="884847"/>
            <a:ext cx="7848000" cy="1093422"/>
          </a:xfrm>
        </p:spPr>
        <p:txBody>
          <a:bodyPr vert="horz"/>
          <a:lstStyle>
            <a:lvl1pPr marL="0" algn="l" defTabSz="77898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ru-RU" sz="4000" b="1" i="0" kern="1200" dirty="0">
                <a:solidFill>
                  <a:srgbClr val="00313C"/>
                </a:solidFill>
                <a:latin typeface="Arial" panose="020B0604020202020204" pitchFamily="34" charset="0"/>
                <a:ea typeface="Roboto SemiBold" pitchFamily="34" charset="-122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в 2 строки</a:t>
            </a:r>
          </a:p>
        </p:txBody>
      </p:sp>
      <p:sp>
        <p:nvSpPr>
          <p:cNvPr id="10" name="Текст 7">
            <a:extLst>
              <a:ext uri="{FF2B5EF4-FFF2-40B4-BE49-F238E27FC236}">
                <a16:creationId xmlns:a16="http://schemas.microsoft.com/office/drawing/2014/main" id="{3ABA512B-BCE2-2D3E-69FD-E20741180E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5628" y="2172433"/>
            <a:ext cx="7848000" cy="196849"/>
          </a:xfrm>
        </p:spPr>
        <p:txBody>
          <a:bodyPr>
            <a:spAutoFit/>
          </a:bodyPr>
          <a:lstStyle>
            <a:lvl1pPr>
              <a:defRPr b="0" i="0"/>
            </a:lvl1pPr>
            <a:lvl2pPr>
              <a:defRPr lang="ru-RU" sz="1800" b="0" i="0" kern="1200" dirty="0">
                <a:solidFill>
                  <a:schemeClr val="tx1"/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2pPr>
          </a:lstStyle>
          <a:p>
            <a:pPr marL="0" lvl="1" indent="0" algn="l" defTabSz="778986" rtl="0" eaLnBrk="1" fontAlgn="base" latinLnBrk="0" hangingPunct="1">
              <a:lnSpc>
                <a:spcPts val="148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ru-RU" dirty="0"/>
              <a:t>Подзаголовок (заполняется по необходимости)</a:t>
            </a: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DF85ED6C-E1D6-5347-E5B5-53066C49A7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1241" y="3808655"/>
            <a:ext cx="3920759" cy="384721"/>
          </a:xfrm>
        </p:spPr>
        <p:txBody>
          <a:bodyPr>
            <a:spAutoFit/>
          </a:bodyPr>
          <a:lstStyle>
            <a:lvl2pPr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marL="0" lvl="1" indent="0" algn="l" defTabSz="778986" rtl="0" eaLnBrk="1" fontAlgn="base" latinLnBrk="0" hangingPunct="1">
              <a:lnSpc>
                <a:spcPts val="148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ru-RU" dirty="0"/>
              <a:t>Имя Фамилия,</a:t>
            </a:r>
          </a:p>
          <a:p>
            <a:pPr marL="0" lvl="1" indent="0" algn="l" defTabSz="778986" rtl="0" eaLnBrk="1" fontAlgn="base" latinLnBrk="0" hangingPunct="1">
              <a:lnSpc>
                <a:spcPts val="148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ru-RU" dirty="0"/>
              <a:t>Должность</a:t>
            </a:r>
          </a:p>
        </p:txBody>
      </p:sp>
      <p:sp>
        <p:nvSpPr>
          <p:cNvPr id="12" name="Текст 12">
            <a:extLst>
              <a:ext uri="{FF2B5EF4-FFF2-40B4-BE49-F238E27FC236}">
                <a16:creationId xmlns:a16="http://schemas.microsoft.com/office/drawing/2014/main" id="{D2039102-F1CE-9491-A97B-44CDD571F54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628" y="4686179"/>
            <a:ext cx="3592522" cy="262059"/>
          </a:xfrm>
          <a:prstGeom prst="rect">
            <a:avLst/>
          </a:prstGeom>
          <a:effectLst/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0" baseline="0">
                <a:solidFill>
                  <a:schemeClr val="tx2"/>
                </a:solidFill>
                <a:effectLst/>
              </a:defRPr>
            </a:lvl1pPr>
            <a:lvl3pPr>
              <a:defRPr lang="ru-RU" sz="1400" b="0" i="0" kern="1200" dirty="0">
                <a:solidFill>
                  <a:schemeClr val="accent1"/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3pPr>
          </a:lstStyle>
          <a:p>
            <a:pPr marL="0" lvl="2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ru-RU" dirty="0"/>
              <a:t>Месяц/Год</a:t>
            </a:r>
          </a:p>
        </p:txBody>
      </p:sp>
    </p:spTree>
    <p:extLst>
      <p:ext uri="{BB962C8B-B14F-4D97-AF65-F5344CB8AC3E}">
        <p14:creationId xmlns:p14="http://schemas.microsoft.com/office/powerpoint/2010/main" val="2407251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Только заголовок 0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4E67E54-AEEC-6935-CB39-D298811C326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086" y="4876028"/>
            <a:ext cx="761990" cy="14400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718601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95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5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3A1D3C44-F905-56EA-FF28-6255872E57D3}"/>
              </a:ext>
            </a:extLst>
          </p:cNvPr>
          <p:cNvSpPr/>
          <p:nvPr userDrawn="1"/>
        </p:nvSpPr>
        <p:spPr bwMode="auto">
          <a:xfrm>
            <a:off x="323526" y="1131888"/>
            <a:ext cx="4169153" cy="3384549"/>
          </a:xfrm>
          <a:prstGeom prst="roundRect">
            <a:avLst>
              <a:gd name="adj" fmla="val 6526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E819A274-44BA-FC1B-59E1-00BA57CE955C}"/>
              </a:ext>
            </a:extLst>
          </p:cNvPr>
          <p:cNvSpPr/>
          <p:nvPr userDrawn="1"/>
        </p:nvSpPr>
        <p:spPr bwMode="auto">
          <a:xfrm>
            <a:off x="4650997" y="1131888"/>
            <a:ext cx="4169153" cy="3384549"/>
          </a:xfrm>
          <a:prstGeom prst="roundRect">
            <a:avLst>
              <a:gd name="adj" fmla="val 6244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0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 </a:t>
            </a:r>
            <a:r>
              <a:rPr lang="ru-RU" dirty="0"/>
              <a:t>в 2 строки</a:t>
            </a:r>
            <a:br>
              <a:rPr lang="ru-RU" dirty="0"/>
            </a:br>
            <a:r>
              <a:rPr lang="ru-RU" dirty="0"/>
              <a:t>с графиком/диаграммой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Диаграмма 5">
            <a:extLst>
              <a:ext uri="{FF2B5EF4-FFF2-40B4-BE49-F238E27FC236}">
                <a16:creationId xmlns:a16="http://schemas.microsoft.com/office/drawing/2014/main" id="{E88E94A5-F5B0-8DD9-B168-33F7E0DE223D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29283" y="1360488"/>
            <a:ext cx="3852000" cy="294862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/>
            </a:lvl1pPr>
          </a:lstStyle>
          <a:p>
            <a:endParaRPr lang="ru-RU" dirty="0"/>
          </a:p>
        </p:txBody>
      </p:sp>
      <p:sp>
        <p:nvSpPr>
          <p:cNvPr id="10" name="Диаграмма 5">
            <a:extLst>
              <a:ext uri="{FF2B5EF4-FFF2-40B4-BE49-F238E27FC236}">
                <a16:creationId xmlns:a16="http://schemas.microsoft.com/office/drawing/2014/main" id="{DAE00265-83F5-FD58-D769-B381312EC0B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644008" y="1347614"/>
            <a:ext cx="3852000" cy="294862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2584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5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2C308A1E-351B-97D6-9C00-D2138FACBD0C}"/>
              </a:ext>
            </a:extLst>
          </p:cNvPr>
          <p:cNvSpPr/>
          <p:nvPr userDrawn="1"/>
        </p:nvSpPr>
        <p:spPr bwMode="auto">
          <a:xfrm>
            <a:off x="323526" y="1131888"/>
            <a:ext cx="4169153" cy="3384549"/>
          </a:xfrm>
          <a:prstGeom prst="roundRect">
            <a:avLst>
              <a:gd name="adj" fmla="val 6526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F5FD5FB0-5CD8-D900-C729-6002FF2BCDB1}"/>
              </a:ext>
            </a:extLst>
          </p:cNvPr>
          <p:cNvSpPr/>
          <p:nvPr userDrawn="1"/>
        </p:nvSpPr>
        <p:spPr bwMode="auto">
          <a:xfrm>
            <a:off x="4650997" y="1131888"/>
            <a:ext cx="4169153" cy="3384549"/>
          </a:xfrm>
          <a:prstGeom prst="roundRect">
            <a:avLst>
              <a:gd name="adj" fmla="val 6244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 </a:t>
            </a:r>
            <a:r>
              <a:rPr lang="ru-RU" dirty="0"/>
              <a:t>в 2 строки</a:t>
            </a:r>
            <a:br>
              <a:rPr lang="ru-RU" dirty="0"/>
            </a:br>
            <a:r>
              <a:rPr lang="ru-RU" dirty="0"/>
              <a:t>с графиком/диаграммой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Диаграмма 5">
            <a:extLst>
              <a:ext uri="{FF2B5EF4-FFF2-40B4-BE49-F238E27FC236}">
                <a16:creationId xmlns:a16="http://schemas.microsoft.com/office/drawing/2014/main" id="{DAE00265-83F5-FD58-D769-B381312EC0B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644008" y="1347614"/>
            <a:ext cx="3852000" cy="294862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/>
            </a:lvl1pPr>
          </a:lstStyle>
          <a:p>
            <a:endParaRPr lang="ru-RU" dirty="0"/>
          </a:p>
        </p:txBody>
      </p:sp>
      <p:sp>
        <p:nvSpPr>
          <p:cNvPr id="5" name="Текст 35">
            <a:extLst>
              <a:ext uri="{FF2B5EF4-FFF2-40B4-BE49-F238E27FC236}">
                <a16:creationId xmlns:a16="http://schemas.microsoft.com/office/drawing/2014/main" id="{74908BBA-AE08-DC3E-A90D-3AD3C8E4441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76000" y="1347614"/>
            <a:ext cx="3668018" cy="46166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ru-RU" sz="1000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30601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5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85E101D1-7AB0-1DCC-F7D4-7905F98A1458}"/>
              </a:ext>
            </a:extLst>
          </p:cNvPr>
          <p:cNvSpPr/>
          <p:nvPr userDrawn="1"/>
        </p:nvSpPr>
        <p:spPr bwMode="auto">
          <a:xfrm>
            <a:off x="323526" y="1131888"/>
            <a:ext cx="4169153" cy="3384549"/>
          </a:xfrm>
          <a:prstGeom prst="roundRect">
            <a:avLst>
              <a:gd name="adj" fmla="val 6526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0B62E3B6-0BBD-EC1C-342D-0C81C38BDBBA}"/>
              </a:ext>
            </a:extLst>
          </p:cNvPr>
          <p:cNvSpPr/>
          <p:nvPr userDrawn="1"/>
        </p:nvSpPr>
        <p:spPr bwMode="auto">
          <a:xfrm>
            <a:off x="4650997" y="1131888"/>
            <a:ext cx="4169153" cy="3384549"/>
          </a:xfrm>
          <a:prstGeom prst="roundRect">
            <a:avLst>
              <a:gd name="adj" fmla="val 6244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5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 </a:t>
            </a:r>
            <a:r>
              <a:rPr lang="ru-RU" dirty="0"/>
              <a:t>в 2 строки</a:t>
            </a:r>
            <a:br>
              <a:rPr lang="ru-RU" dirty="0"/>
            </a:br>
            <a:r>
              <a:rPr lang="ru-RU" dirty="0"/>
              <a:t>с графиком/диаграммой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2" name="Диаграмма 5">
            <a:extLst>
              <a:ext uri="{FF2B5EF4-FFF2-40B4-BE49-F238E27FC236}">
                <a16:creationId xmlns:a16="http://schemas.microsoft.com/office/drawing/2014/main" id="{6AA430BC-86D0-629D-B7C9-BED9DA527DF8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29283" y="1360488"/>
            <a:ext cx="3852000" cy="29520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endParaRPr lang="ru-RU" dirty="0"/>
          </a:p>
        </p:txBody>
      </p:sp>
      <p:sp>
        <p:nvSpPr>
          <p:cNvPr id="13" name="Текст 35">
            <a:extLst>
              <a:ext uri="{FF2B5EF4-FFF2-40B4-BE49-F238E27FC236}">
                <a16:creationId xmlns:a16="http://schemas.microsoft.com/office/drawing/2014/main" id="{E95F6B0B-7908-D133-6B88-1803A86E52B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28283" y="1347614"/>
            <a:ext cx="3668018" cy="46166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ru-RU" sz="1000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478731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5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Скругленный прямоугольник 15">
            <a:extLst>
              <a:ext uri="{FF2B5EF4-FFF2-40B4-BE49-F238E27FC236}">
                <a16:creationId xmlns:a16="http://schemas.microsoft.com/office/drawing/2014/main" id="{02EFF8B6-6325-58BE-8FA7-AE72894F1320}"/>
              </a:ext>
            </a:extLst>
          </p:cNvPr>
          <p:cNvSpPr/>
          <p:nvPr userDrawn="1"/>
        </p:nvSpPr>
        <p:spPr bwMode="auto">
          <a:xfrm>
            <a:off x="4651200" y="2896621"/>
            <a:ext cx="4169153" cy="1620000"/>
          </a:xfrm>
          <a:prstGeom prst="roundRect">
            <a:avLst>
              <a:gd name="adj" fmla="val 1131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7" name="Скругленный прямоугольник 16">
            <a:extLst>
              <a:ext uri="{FF2B5EF4-FFF2-40B4-BE49-F238E27FC236}">
                <a16:creationId xmlns:a16="http://schemas.microsoft.com/office/drawing/2014/main" id="{902FDF30-7F5D-758D-06FF-9D1FB0AC89F7}"/>
              </a:ext>
            </a:extLst>
          </p:cNvPr>
          <p:cNvSpPr/>
          <p:nvPr userDrawn="1"/>
        </p:nvSpPr>
        <p:spPr bwMode="auto">
          <a:xfrm>
            <a:off x="4651200" y="1131888"/>
            <a:ext cx="4169153" cy="1620000"/>
          </a:xfrm>
          <a:prstGeom prst="roundRect">
            <a:avLst>
              <a:gd name="adj" fmla="val 1131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27DA6BCE-5A92-B5DB-784C-A386D380B766}"/>
              </a:ext>
            </a:extLst>
          </p:cNvPr>
          <p:cNvSpPr/>
          <p:nvPr userDrawn="1"/>
        </p:nvSpPr>
        <p:spPr bwMode="auto">
          <a:xfrm>
            <a:off x="323526" y="1131888"/>
            <a:ext cx="4169153" cy="3384549"/>
          </a:xfrm>
          <a:prstGeom prst="roundRect">
            <a:avLst>
              <a:gd name="adj" fmla="val 6526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8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 </a:t>
            </a:r>
            <a:r>
              <a:rPr lang="ru-RU" dirty="0"/>
              <a:t>в 2 строки</a:t>
            </a:r>
            <a:br>
              <a:rPr lang="ru-RU" dirty="0"/>
            </a:br>
            <a:r>
              <a:rPr lang="ru-RU" dirty="0"/>
              <a:t>с графиком/диаграммой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Диаграмма 5">
            <a:extLst>
              <a:ext uri="{FF2B5EF4-FFF2-40B4-BE49-F238E27FC236}">
                <a16:creationId xmlns:a16="http://schemas.microsoft.com/office/drawing/2014/main" id="{E88E94A5-F5B0-8DD9-B168-33F7E0DE223D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29283" y="1234440"/>
            <a:ext cx="3852000" cy="307467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/>
            </a:lvl1pPr>
          </a:lstStyle>
          <a:p>
            <a:endParaRPr lang="ru-RU" dirty="0"/>
          </a:p>
        </p:txBody>
      </p:sp>
      <p:sp>
        <p:nvSpPr>
          <p:cNvPr id="10" name="Диаграмма 5">
            <a:extLst>
              <a:ext uri="{FF2B5EF4-FFF2-40B4-BE49-F238E27FC236}">
                <a16:creationId xmlns:a16="http://schemas.microsoft.com/office/drawing/2014/main" id="{DAE00265-83F5-FD58-D769-B381312EC0B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644008" y="1223010"/>
            <a:ext cx="3852000" cy="138303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/>
            </a:lvl1pPr>
          </a:lstStyle>
          <a:p>
            <a:endParaRPr lang="ru-RU" dirty="0"/>
          </a:p>
        </p:txBody>
      </p:sp>
      <p:sp>
        <p:nvSpPr>
          <p:cNvPr id="13" name="Диаграмма 5">
            <a:extLst>
              <a:ext uri="{FF2B5EF4-FFF2-40B4-BE49-F238E27FC236}">
                <a16:creationId xmlns:a16="http://schemas.microsoft.com/office/drawing/2014/main" id="{3A874F65-6831-FD66-2A8F-838EE50C1524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644008" y="3003798"/>
            <a:ext cx="3852000" cy="138303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7510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6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id="{82E7E0E9-6862-DA10-94DD-F9E9BAACF74A}"/>
              </a:ext>
            </a:extLst>
          </p:cNvPr>
          <p:cNvSpPr/>
          <p:nvPr userDrawn="1"/>
        </p:nvSpPr>
        <p:spPr bwMode="auto">
          <a:xfrm>
            <a:off x="4650997" y="1131888"/>
            <a:ext cx="4169153" cy="3384549"/>
          </a:xfrm>
          <a:prstGeom prst="roundRect">
            <a:avLst>
              <a:gd name="adj" fmla="val 6244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09149396-0F4A-CD79-723A-8218E053C2B1}"/>
              </a:ext>
            </a:extLst>
          </p:cNvPr>
          <p:cNvSpPr/>
          <p:nvPr userDrawn="1"/>
        </p:nvSpPr>
        <p:spPr bwMode="auto">
          <a:xfrm>
            <a:off x="324000" y="2896621"/>
            <a:ext cx="4169153" cy="1620000"/>
          </a:xfrm>
          <a:prstGeom prst="roundRect">
            <a:avLst>
              <a:gd name="adj" fmla="val 1131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B16461E3-530C-50C1-2B46-195FDD40BD4B}"/>
              </a:ext>
            </a:extLst>
          </p:cNvPr>
          <p:cNvSpPr/>
          <p:nvPr userDrawn="1"/>
        </p:nvSpPr>
        <p:spPr bwMode="auto">
          <a:xfrm>
            <a:off x="324000" y="1131888"/>
            <a:ext cx="4169153" cy="1620000"/>
          </a:xfrm>
          <a:prstGeom prst="roundRect">
            <a:avLst>
              <a:gd name="adj" fmla="val 1131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0" name="Диаграмма 5">
            <a:extLst>
              <a:ext uri="{FF2B5EF4-FFF2-40B4-BE49-F238E27FC236}">
                <a16:creationId xmlns:a16="http://schemas.microsoft.com/office/drawing/2014/main" id="{DAE00265-83F5-FD58-D769-B381312EC0B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337051" y="1223010"/>
            <a:ext cx="3852000" cy="138303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/>
            </a:lvl1pPr>
          </a:lstStyle>
          <a:p>
            <a:endParaRPr lang="ru-RU" dirty="0"/>
          </a:p>
        </p:txBody>
      </p:sp>
      <p:sp>
        <p:nvSpPr>
          <p:cNvPr id="13" name="Диаграмма 5">
            <a:extLst>
              <a:ext uri="{FF2B5EF4-FFF2-40B4-BE49-F238E27FC236}">
                <a16:creationId xmlns:a16="http://schemas.microsoft.com/office/drawing/2014/main" id="{3A874F65-6831-FD66-2A8F-838EE50C1524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337051" y="3003798"/>
            <a:ext cx="3852000" cy="138303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/>
            </a:lvl1pPr>
          </a:lstStyle>
          <a:p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0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 </a:t>
            </a:r>
            <a:r>
              <a:rPr lang="ru-RU" dirty="0"/>
              <a:t>в 2 строки</a:t>
            </a:r>
            <a:br>
              <a:rPr lang="ru-RU" dirty="0"/>
            </a:br>
            <a:r>
              <a:rPr lang="ru-RU" dirty="0"/>
              <a:t>с графиком/диаграммой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Диаграмма 5">
            <a:extLst>
              <a:ext uri="{FF2B5EF4-FFF2-40B4-BE49-F238E27FC236}">
                <a16:creationId xmlns:a16="http://schemas.microsoft.com/office/drawing/2014/main" id="{E88E94A5-F5B0-8DD9-B168-33F7E0DE223D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945337" y="1234440"/>
            <a:ext cx="3852000" cy="307467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4706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6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8DEB669E-E811-D54F-6532-ACC2CD22099F}"/>
              </a:ext>
            </a:extLst>
          </p:cNvPr>
          <p:cNvSpPr/>
          <p:nvPr userDrawn="1"/>
        </p:nvSpPr>
        <p:spPr bwMode="auto">
          <a:xfrm>
            <a:off x="4651200" y="2896621"/>
            <a:ext cx="4169153" cy="1620000"/>
          </a:xfrm>
          <a:prstGeom prst="roundRect">
            <a:avLst>
              <a:gd name="adj" fmla="val 11310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8AE7174B-8595-07BB-EDE3-BB384614FAD1}"/>
              </a:ext>
            </a:extLst>
          </p:cNvPr>
          <p:cNvSpPr/>
          <p:nvPr userDrawn="1"/>
        </p:nvSpPr>
        <p:spPr bwMode="auto">
          <a:xfrm>
            <a:off x="4651200" y="1131888"/>
            <a:ext cx="4169153" cy="1620000"/>
          </a:xfrm>
          <a:prstGeom prst="roundRect">
            <a:avLst>
              <a:gd name="adj" fmla="val 1131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2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 </a:t>
            </a:r>
            <a:r>
              <a:rPr lang="ru-RU" dirty="0"/>
              <a:t>в 2 строки</a:t>
            </a:r>
            <a:br>
              <a:rPr lang="ru-RU" dirty="0"/>
            </a:br>
            <a:r>
              <a:rPr lang="ru-RU" dirty="0"/>
              <a:t>с графиком/диаграммой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3682A8F3-F31F-0F4C-5F1D-2A69292AC9EB}"/>
              </a:ext>
            </a:extLst>
          </p:cNvPr>
          <p:cNvSpPr/>
          <p:nvPr userDrawn="1"/>
        </p:nvSpPr>
        <p:spPr bwMode="auto">
          <a:xfrm>
            <a:off x="323528" y="1131590"/>
            <a:ext cx="4161600" cy="3384848"/>
          </a:xfrm>
          <a:prstGeom prst="roundRect">
            <a:avLst>
              <a:gd name="adj" fmla="val 3899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6" name="Диаграмма 5">
            <a:extLst>
              <a:ext uri="{FF2B5EF4-FFF2-40B4-BE49-F238E27FC236}">
                <a16:creationId xmlns:a16="http://schemas.microsoft.com/office/drawing/2014/main" id="{E88E94A5-F5B0-8DD9-B168-33F7E0DE223D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29283" y="1234440"/>
            <a:ext cx="3852000" cy="307467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endParaRPr lang="ru-RU" dirty="0"/>
          </a:p>
        </p:txBody>
      </p:sp>
      <p:sp>
        <p:nvSpPr>
          <p:cNvPr id="10" name="Диаграмма 5">
            <a:extLst>
              <a:ext uri="{FF2B5EF4-FFF2-40B4-BE49-F238E27FC236}">
                <a16:creationId xmlns:a16="http://schemas.microsoft.com/office/drawing/2014/main" id="{DAE00265-83F5-FD58-D769-B381312EC0B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644008" y="1223010"/>
            <a:ext cx="3852000" cy="138303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endParaRPr lang="ru-RU" dirty="0"/>
          </a:p>
        </p:txBody>
      </p:sp>
      <p:sp>
        <p:nvSpPr>
          <p:cNvPr id="3" name="Текст 35">
            <a:extLst>
              <a:ext uri="{FF2B5EF4-FFF2-40B4-BE49-F238E27FC236}">
                <a16:creationId xmlns:a16="http://schemas.microsoft.com/office/drawing/2014/main" id="{C9DFAD72-F1F1-DBA8-E2F5-DE6169833F5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28283" y="3099335"/>
            <a:ext cx="3668018" cy="46166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ru-RU" sz="1000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55831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FD6CEE70-D86A-CED7-B432-FC6FBFBF8F65}"/>
              </a:ext>
            </a:extLst>
          </p:cNvPr>
          <p:cNvSpPr/>
          <p:nvPr userDrawn="1"/>
        </p:nvSpPr>
        <p:spPr bwMode="auto">
          <a:xfrm>
            <a:off x="323851" y="1133779"/>
            <a:ext cx="2760312" cy="3382659"/>
          </a:xfrm>
          <a:prstGeom prst="roundRect">
            <a:avLst>
              <a:gd name="adj" fmla="val 7744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D24E2C72-DB59-EF67-6B02-BB689851F3A1}"/>
              </a:ext>
            </a:extLst>
          </p:cNvPr>
          <p:cNvSpPr/>
          <p:nvPr userDrawn="1"/>
        </p:nvSpPr>
        <p:spPr bwMode="auto">
          <a:xfrm>
            <a:off x="3198737" y="1131590"/>
            <a:ext cx="2760312" cy="3382659"/>
          </a:xfrm>
          <a:prstGeom prst="roundRect">
            <a:avLst>
              <a:gd name="adj" fmla="val 7836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7" name="Скругленный прямоугольник 16">
            <a:extLst>
              <a:ext uri="{FF2B5EF4-FFF2-40B4-BE49-F238E27FC236}">
                <a16:creationId xmlns:a16="http://schemas.microsoft.com/office/drawing/2014/main" id="{7E86FB5F-9CD4-A963-F5D0-D4541D679BC1}"/>
              </a:ext>
            </a:extLst>
          </p:cNvPr>
          <p:cNvSpPr/>
          <p:nvPr userDrawn="1"/>
        </p:nvSpPr>
        <p:spPr bwMode="auto">
          <a:xfrm>
            <a:off x="6084168" y="1131590"/>
            <a:ext cx="2760312" cy="3382659"/>
          </a:xfrm>
          <a:prstGeom prst="roundRect">
            <a:avLst>
              <a:gd name="adj" fmla="val 7468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в 2 строки для слайда с </a:t>
            </a:r>
            <a:r>
              <a:rPr lang="ru-RU" dirty="0" err="1">
                <a:effectLst/>
              </a:rPr>
              <a:t>хайлайтами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24DAF5A-7680-F390-BADB-847A8A8BFA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1932119"/>
            <a:ext cx="2268000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заголовков придают слайдам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слегка журнальный вид.</a:t>
            </a:r>
            <a:endParaRPr lang="ru-RU" dirty="0"/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969BFFE5-7A15-E6B0-CEF9-7DC51C8DED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7700" y="1402990"/>
            <a:ext cx="2268538" cy="430887"/>
          </a:xfrm>
        </p:spPr>
        <p:txBody>
          <a:bodyPr anchor="ctr">
            <a:spAutoFit/>
          </a:bodyPr>
          <a:lstStyle>
            <a:lvl1pPr>
              <a:defRPr sz="2800" b="0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>
                <a:effectLst/>
              </a:rPr>
              <a:t>Значение 1</a:t>
            </a:r>
            <a:endParaRPr lang="ru-RU" dirty="0"/>
          </a:p>
        </p:txBody>
      </p:sp>
      <p:sp>
        <p:nvSpPr>
          <p:cNvPr id="2" name="Текст 9">
            <a:extLst>
              <a:ext uri="{FF2B5EF4-FFF2-40B4-BE49-F238E27FC236}">
                <a16:creationId xmlns:a16="http://schemas.microsoft.com/office/drawing/2014/main" id="{58F93F72-9EE5-E77A-292D-457DB44680D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10000" y="1402990"/>
            <a:ext cx="2268538" cy="430887"/>
          </a:xfrm>
        </p:spPr>
        <p:txBody>
          <a:bodyPr anchor="ctr">
            <a:spAutoFit/>
          </a:bodyPr>
          <a:lstStyle>
            <a:lvl1pPr>
              <a:defRPr lang="ru-RU" sz="2800" b="0" i="0" kern="1200" dirty="0">
                <a:solidFill>
                  <a:schemeClr val="accent1"/>
                </a:solidFill>
                <a:effectLst/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>
                <a:effectLst/>
              </a:rPr>
              <a:t>Значение 2</a:t>
            </a:r>
            <a:endParaRPr lang="ru-RU" dirty="0"/>
          </a:p>
        </p:txBody>
      </p:sp>
      <p:sp>
        <p:nvSpPr>
          <p:cNvPr id="11" name="Текст 9">
            <a:extLst>
              <a:ext uri="{FF2B5EF4-FFF2-40B4-BE49-F238E27FC236}">
                <a16:creationId xmlns:a16="http://schemas.microsoft.com/office/drawing/2014/main" id="{B168AE63-C4FA-ECC4-3BDD-7AB80F0EF9C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97200" y="1402990"/>
            <a:ext cx="2268538" cy="430887"/>
          </a:xfrm>
        </p:spPr>
        <p:txBody>
          <a:bodyPr anchor="ctr">
            <a:spAutoFit/>
          </a:bodyPr>
          <a:lstStyle>
            <a:lvl1pPr>
              <a:defRPr lang="ru-RU" sz="2800" b="0" i="0" kern="1200" dirty="0">
                <a:solidFill>
                  <a:schemeClr val="accent1"/>
                </a:solidFill>
                <a:effectLst/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>
                <a:effectLst/>
              </a:rPr>
              <a:t>Значение 3</a:t>
            </a:r>
            <a:endParaRPr lang="ru-RU" dirty="0"/>
          </a:p>
        </p:txBody>
      </p:sp>
      <p:sp>
        <p:nvSpPr>
          <p:cNvPr id="15" name="Текст 35">
            <a:extLst>
              <a:ext uri="{FF2B5EF4-FFF2-40B4-BE49-F238E27FC236}">
                <a16:creationId xmlns:a16="http://schemas.microsoft.com/office/drawing/2014/main" id="{32162FBC-90A6-981C-04A6-68B77CB7120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09999" y="1932119"/>
            <a:ext cx="2268000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заголовков придают слайдам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слегка журнальный вид.</a:t>
            </a:r>
            <a:endParaRPr lang="ru-RU" dirty="0"/>
          </a:p>
        </p:txBody>
      </p:sp>
      <p:sp>
        <p:nvSpPr>
          <p:cNvPr id="16" name="Текст 35">
            <a:extLst>
              <a:ext uri="{FF2B5EF4-FFF2-40B4-BE49-F238E27FC236}">
                <a16:creationId xmlns:a16="http://schemas.microsoft.com/office/drawing/2014/main" id="{F960BBA6-1AD2-EF66-6ED0-AA25209FD74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7199" y="1932119"/>
            <a:ext cx="2268000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заголовков придают слайдам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слегка 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8261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6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985DC058-3592-83DD-1CF0-CD7DAFA41F65}"/>
              </a:ext>
            </a:extLst>
          </p:cNvPr>
          <p:cNvSpPr/>
          <p:nvPr userDrawn="1"/>
        </p:nvSpPr>
        <p:spPr bwMode="auto">
          <a:xfrm>
            <a:off x="4650997" y="1131888"/>
            <a:ext cx="4169153" cy="3384549"/>
          </a:xfrm>
          <a:prstGeom prst="roundRect">
            <a:avLst>
              <a:gd name="adj" fmla="val 6244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EDB58DCC-3715-6D28-39FE-9E87C7078078}"/>
              </a:ext>
            </a:extLst>
          </p:cNvPr>
          <p:cNvSpPr/>
          <p:nvPr userDrawn="1"/>
        </p:nvSpPr>
        <p:spPr bwMode="auto">
          <a:xfrm>
            <a:off x="324000" y="2896621"/>
            <a:ext cx="4169153" cy="1620000"/>
          </a:xfrm>
          <a:prstGeom prst="roundRect">
            <a:avLst>
              <a:gd name="adj" fmla="val 11310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4" name="Скругленный прямоугольник 13">
            <a:extLst>
              <a:ext uri="{FF2B5EF4-FFF2-40B4-BE49-F238E27FC236}">
                <a16:creationId xmlns:a16="http://schemas.microsoft.com/office/drawing/2014/main" id="{9F29185A-2004-7004-10E5-6EC51C490072}"/>
              </a:ext>
            </a:extLst>
          </p:cNvPr>
          <p:cNvSpPr/>
          <p:nvPr userDrawn="1"/>
        </p:nvSpPr>
        <p:spPr bwMode="auto">
          <a:xfrm>
            <a:off x="324000" y="1131888"/>
            <a:ext cx="4169153" cy="1620000"/>
          </a:xfrm>
          <a:prstGeom prst="roundRect">
            <a:avLst>
              <a:gd name="adj" fmla="val 1131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0" name="Диаграмма 5">
            <a:extLst>
              <a:ext uri="{FF2B5EF4-FFF2-40B4-BE49-F238E27FC236}">
                <a16:creationId xmlns:a16="http://schemas.microsoft.com/office/drawing/2014/main" id="{DAE00265-83F5-FD58-D769-B381312EC0B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337051" y="1223010"/>
            <a:ext cx="3852000" cy="138303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5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 </a:t>
            </a:r>
            <a:r>
              <a:rPr lang="ru-RU" dirty="0"/>
              <a:t>в 2 строки</a:t>
            </a:r>
            <a:br>
              <a:rPr lang="ru-RU" dirty="0"/>
            </a:br>
            <a:r>
              <a:rPr lang="ru-RU" dirty="0"/>
              <a:t>с графиком/диаграммой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Диаграмма 5">
            <a:extLst>
              <a:ext uri="{FF2B5EF4-FFF2-40B4-BE49-F238E27FC236}">
                <a16:creationId xmlns:a16="http://schemas.microsoft.com/office/drawing/2014/main" id="{E88E94A5-F5B0-8DD9-B168-33F7E0DE223D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945337" y="1234440"/>
            <a:ext cx="3852000" cy="307467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endParaRPr lang="ru-RU" dirty="0"/>
          </a:p>
        </p:txBody>
      </p:sp>
      <p:sp>
        <p:nvSpPr>
          <p:cNvPr id="3" name="Текст 35">
            <a:extLst>
              <a:ext uri="{FF2B5EF4-FFF2-40B4-BE49-F238E27FC236}">
                <a16:creationId xmlns:a16="http://schemas.microsoft.com/office/drawing/2014/main" id="{AD6220CB-0392-30A5-6C4E-245B9752DFB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6000" y="3099335"/>
            <a:ext cx="3668018" cy="46166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ru-RU" sz="1000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220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6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id="{00C5F947-FE5C-7506-D649-4989E7789EDD}"/>
              </a:ext>
            </a:extLst>
          </p:cNvPr>
          <p:cNvSpPr/>
          <p:nvPr userDrawn="1"/>
        </p:nvSpPr>
        <p:spPr bwMode="auto">
          <a:xfrm>
            <a:off x="4651200" y="2896621"/>
            <a:ext cx="4169153" cy="1620000"/>
          </a:xfrm>
          <a:prstGeom prst="roundRect">
            <a:avLst>
              <a:gd name="adj" fmla="val 11310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6" name="Скругленный прямоугольник 15">
            <a:extLst>
              <a:ext uri="{FF2B5EF4-FFF2-40B4-BE49-F238E27FC236}">
                <a16:creationId xmlns:a16="http://schemas.microsoft.com/office/drawing/2014/main" id="{CAB7BB31-DE2B-0212-CD01-FFCFF331FBB7}"/>
              </a:ext>
            </a:extLst>
          </p:cNvPr>
          <p:cNvSpPr/>
          <p:nvPr userDrawn="1"/>
        </p:nvSpPr>
        <p:spPr bwMode="auto">
          <a:xfrm>
            <a:off x="4651200" y="1131888"/>
            <a:ext cx="4169153" cy="1620000"/>
          </a:xfrm>
          <a:prstGeom prst="roundRect">
            <a:avLst>
              <a:gd name="adj" fmla="val 1131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4" name="Скругленный прямоугольник 13">
            <a:extLst>
              <a:ext uri="{FF2B5EF4-FFF2-40B4-BE49-F238E27FC236}">
                <a16:creationId xmlns:a16="http://schemas.microsoft.com/office/drawing/2014/main" id="{FE8FC364-4540-07DC-FBAD-419F351F2973}"/>
              </a:ext>
            </a:extLst>
          </p:cNvPr>
          <p:cNvSpPr/>
          <p:nvPr userDrawn="1"/>
        </p:nvSpPr>
        <p:spPr bwMode="auto">
          <a:xfrm>
            <a:off x="323528" y="1131590"/>
            <a:ext cx="4161600" cy="3384848"/>
          </a:xfrm>
          <a:prstGeom prst="roundRect">
            <a:avLst>
              <a:gd name="adj" fmla="val 3899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7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 </a:t>
            </a:r>
            <a:r>
              <a:rPr lang="ru-RU" dirty="0"/>
              <a:t>в 2 строки</a:t>
            </a:r>
            <a:br>
              <a:rPr lang="ru-RU" dirty="0"/>
            </a:br>
            <a:r>
              <a:rPr lang="ru-RU" dirty="0"/>
              <a:t>с графиком/диаграммой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Диаграмма 5">
            <a:extLst>
              <a:ext uri="{FF2B5EF4-FFF2-40B4-BE49-F238E27FC236}">
                <a16:creationId xmlns:a16="http://schemas.microsoft.com/office/drawing/2014/main" id="{E88E94A5-F5B0-8DD9-B168-33F7E0DE223D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29283" y="1234440"/>
            <a:ext cx="3852000" cy="307467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/>
            </a:lvl1pPr>
          </a:lstStyle>
          <a:p>
            <a:endParaRPr lang="ru-RU" dirty="0"/>
          </a:p>
        </p:txBody>
      </p:sp>
      <p:sp>
        <p:nvSpPr>
          <p:cNvPr id="3" name="Текст 35">
            <a:extLst>
              <a:ext uri="{FF2B5EF4-FFF2-40B4-BE49-F238E27FC236}">
                <a16:creationId xmlns:a16="http://schemas.microsoft.com/office/drawing/2014/main" id="{C9DFAD72-F1F1-DBA8-E2F5-DE6169833F5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28283" y="3099335"/>
            <a:ext cx="3668018" cy="46166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ru-RU" sz="1000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  <p:sp>
        <p:nvSpPr>
          <p:cNvPr id="12" name="Текст 35">
            <a:extLst>
              <a:ext uri="{FF2B5EF4-FFF2-40B4-BE49-F238E27FC236}">
                <a16:creationId xmlns:a16="http://schemas.microsoft.com/office/drawing/2014/main" id="{9D5DE64A-B0CB-DCEF-CE07-EED29FE7AA5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28283" y="1347614"/>
            <a:ext cx="3668018" cy="46166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ru-RU" sz="1000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23194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6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Скругленный прямоугольник 13">
            <a:extLst>
              <a:ext uri="{FF2B5EF4-FFF2-40B4-BE49-F238E27FC236}">
                <a16:creationId xmlns:a16="http://schemas.microsoft.com/office/drawing/2014/main" id="{EDCFB6CF-57DA-3428-BE4C-38E60AC944A8}"/>
              </a:ext>
            </a:extLst>
          </p:cNvPr>
          <p:cNvSpPr/>
          <p:nvPr userDrawn="1"/>
        </p:nvSpPr>
        <p:spPr bwMode="auto">
          <a:xfrm>
            <a:off x="4650997" y="1131888"/>
            <a:ext cx="4169153" cy="3384549"/>
          </a:xfrm>
          <a:prstGeom prst="roundRect">
            <a:avLst>
              <a:gd name="adj" fmla="val 6244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49B8E854-1751-7F15-DCAF-B3AA69677672}"/>
              </a:ext>
            </a:extLst>
          </p:cNvPr>
          <p:cNvSpPr/>
          <p:nvPr userDrawn="1"/>
        </p:nvSpPr>
        <p:spPr bwMode="auto">
          <a:xfrm>
            <a:off x="324000" y="2896621"/>
            <a:ext cx="4169153" cy="1620000"/>
          </a:xfrm>
          <a:prstGeom prst="roundRect">
            <a:avLst>
              <a:gd name="adj" fmla="val 11310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DD8BF738-1D3D-AEB5-15D2-6752AE544AC7}"/>
              </a:ext>
            </a:extLst>
          </p:cNvPr>
          <p:cNvSpPr/>
          <p:nvPr userDrawn="1"/>
        </p:nvSpPr>
        <p:spPr bwMode="auto">
          <a:xfrm>
            <a:off x="324000" y="1131888"/>
            <a:ext cx="4169153" cy="1620000"/>
          </a:xfrm>
          <a:prstGeom prst="roundRect">
            <a:avLst>
              <a:gd name="adj" fmla="val 1131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0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 </a:t>
            </a:r>
            <a:r>
              <a:rPr lang="ru-RU" dirty="0"/>
              <a:t>в 2 строки</a:t>
            </a:r>
            <a:br>
              <a:rPr lang="ru-RU" dirty="0"/>
            </a:br>
            <a:r>
              <a:rPr lang="ru-RU" dirty="0"/>
              <a:t>с графиком/диаграммой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Диаграмма 5">
            <a:extLst>
              <a:ext uri="{FF2B5EF4-FFF2-40B4-BE49-F238E27FC236}">
                <a16:creationId xmlns:a16="http://schemas.microsoft.com/office/drawing/2014/main" id="{E88E94A5-F5B0-8DD9-B168-33F7E0DE223D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945337" y="1234440"/>
            <a:ext cx="3852000" cy="307467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/>
            </a:lvl1pPr>
          </a:lstStyle>
          <a:p>
            <a:endParaRPr lang="ru-RU" dirty="0"/>
          </a:p>
        </p:txBody>
      </p:sp>
      <p:sp>
        <p:nvSpPr>
          <p:cNvPr id="3" name="Текст 35">
            <a:extLst>
              <a:ext uri="{FF2B5EF4-FFF2-40B4-BE49-F238E27FC236}">
                <a16:creationId xmlns:a16="http://schemas.microsoft.com/office/drawing/2014/main" id="{7AC86701-B6BF-CB4D-58ED-A8DAA58B7D8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6000" y="3099335"/>
            <a:ext cx="3668018" cy="46166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ru-RU" sz="1000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  <p:sp>
        <p:nvSpPr>
          <p:cNvPr id="12" name="Текст 35">
            <a:extLst>
              <a:ext uri="{FF2B5EF4-FFF2-40B4-BE49-F238E27FC236}">
                <a16:creationId xmlns:a16="http://schemas.microsoft.com/office/drawing/2014/main" id="{E7C55D04-DC1A-2D05-7782-2B60480630A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6000" y="1347614"/>
            <a:ext cx="3668018" cy="124478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 b="0" i="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90880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6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DE8C7F52-628A-E034-535C-77E38BDDA6D3}"/>
              </a:ext>
            </a:extLst>
          </p:cNvPr>
          <p:cNvSpPr/>
          <p:nvPr userDrawn="1"/>
        </p:nvSpPr>
        <p:spPr bwMode="auto">
          <a:xfrm>
            <a:off x="4651200" y="2896621"/>
            <a:ext cx="4169153" cy="1620000"/>
          </a:xfrm>
          <a:prstGeom prst="roundRect">
            <a:avLst>
              <a:gd name="adj" fmla="val 1131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D0866C8A-3263-E5CC-83C9-B831183A05BD}"/>
              </a:ext>
            </a:extLst>
          </p:cNvPr>
          <p:cNvSpPr/>
          <p:nvPr userDrawn="1"/>
        </p:nvSpPr>
        <p:spPr bwMode="auto">
          <a:xfrm>
            <a:off x="323526" y="1131888"/>
            <a:ext cx="4169153" cy="3384549"/>
          </a:xfrm>
          <a:prstGeom prst="roundRect">
            <a:avLst>
              <a:gd name="adj" fmla="val 6526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6301EDEA-4C64-4638-68F9-391DF14F2BB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644000" y="1130300"/>
            <a:ext cx="4161600" cy="1620000"/>
          </a:xfrm>
          <a:prstGeom prst="roundRect">
            <a:avLst>
              <a:gd name="adj" fmla="val 12262"/>
            </a:avLst>
          </a:prstGeom>
        </p:spPr>
        <p:txBody>
          <a:bodyPr/>
          <a:lstStyle>
            <a:lvl1pPr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2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 </a:t>
            </a:r>
            <a:r>
              <a:rPr lang="ru-RU" dirty="0"/>
              <a:t>в 2 строки</a:t>
            </a:r>
            <a:br>
              <a:rPr lang="ru-RU" dirty="0"/>
            </a:br>
            <a:r>
              <a:rPr lang="ru-RU" dirty="0"/>
              <a:t>с графиком/диаграммой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Диаграмма 5">
            <a:extLst>
              <a:ext uri="{FF2B5EF4-FFF2-40B4-BE49-F238E27FC236}">
                <a16:creationId xmlns:a16="http://schemas.microsoft.com/office/drawing/2014/main" id="{E88E94A5-F5B0-8DD9-B168-33F7E0DE223D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29283" y="1234440"/>
            <a:ext cx="3852000" cy="307467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/>
            </a:lvl1pPr>
          </a:lstStyle>
          <a:p>
            <a:endParaRPr lang="ru-RU" dirty="0"/>
          </a:p>
        </p:txBody>
      </p:sp>
      <p:sp>
        <p:nvSpPr>
          <p:cNvPr id="3" name="Текст 35">
            <a:extLst>
              <a:ext uri="{FF2B5EF4-FFF2-40B4-BE49-F238E27FC236}">
                <a16:creationId xmlns:a16="http://schemas.microsoft.com/office/drawing/2014/main" id="{C9DFAD72-F1F1-DBA8-E2F5-DE6169833F5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28283" y="3099335"/>
            <a:ext cx="3668018" cy="46166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ru-RU" sz="1000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221505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6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275350A4-6928-87E3-D26E-E60AEEE78B3B}"/>
              </a:ext>
            </a:extLst>
          </p:cNvPr>
          <p:cNvSpPr/>
          <p:nvPr userDrawn="1"/>
        </p:nvSpPr>
        <p:spPr bwMode="auto">
          <a:xfrm>
            <a:off x="324000" y="2896621"/>
            <a:ext cx="4169153" cy="1620000"/>
          </a:xfrm>
          <a:prstGeom prst="roundRect">
            <a:avLst>
              <a:gd name="adj" fmla="val 1131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0A87E448-6C08-3A9F-DFE8-23C3314C98C9}"/>
              </a:ext>
            </a:extLst>
          </p:cNvPr>
          <p:cNvSpPr/>
          <p:nvPr userDrawn="1"/>
        </p:nvSpPr>
        <p:spPr bwMode="auto">
          <a:xfrm>
            <a:off x="4651200" y="1131888"/>
            <a:ext cx="4169153" cy="3384549"/>
          </a:xfrm>
          <a:prstGeom prst="roundRect">
            <a:avLst>
              <a:gd name="adj" fmla="val 6526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4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 </a:t>
            </a:r>
            <a:r>
              <a:rPr lang="ru-RU" dirty="0"/>
              <a:t>в 2 строки</a:t>
            </a:r>
            <a:br>
              <a:rPr lang="ru-RU" dirty="0"/>
            </a:br>
            <a:r>
              <a:rPr lang="ru-RU" dirty="0"/>
              <a:t>с графиком/диаграммой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Диаграмма 5">
            <a:extLst>
              <a:ext uri="{FF2B5EF4-FFF2-40B4-BE49-F238E27FC236}">
                <a16:creationId xmlns:a16="http://schemas.microsoft.com/office/drawing/2014/main" id="{E88E94A5-F5B0-8DD9-B168-33F7E0DE223D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945337" y="1234440"/>
            <a:ext cx="3852000" cy="307467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/>
            </a:lvl1pPr>
          </a:lstStyle>
          <a:p>
            <a:endParaRPr lang="ru-RU" dirty="0"/>
          </a:p>
        </p:txBody>
      </p:sp>
      <p:sp>
        <p:nvSpPr>
          <p:cNvPr id="3" name="Текст 35">
            <a:extLst>
              <a:ext uri="{FF2B5EF4-FFF2-40B4-BE49-F238E27FC236}">
                <a16:creationId xmlns:a16="http://schemas.microsoft.com/office/drawing/2014/main" id="{7AC86701-B6BF-CB4D-58ED-A8DAA58B7D8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6000" y="3099335"/>
            <a:ext cx="3668018" cy="46166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ru-RU" sz="1000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  <p:sp>
        <p:nvSpPr>
          <p:cNvPr id="14" name="Рисунок 11">
            <a:extLst>
              <a:ext uri="{FF2B5EF4-FFF2-40B4-BE49-F238E27FC236}">
                <a16:creationId xmlns:a16="http://schemas.microsoft.com/office/drawing/2014/main" id="{D2F3176F-D249-F234-56A2-6472E602670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7051" y="1130300"/>
            <a:ext cx="4161600" cy="1620000"/>
          </a:xfrm>
          <a:prstGeom prst="roundRect">
            <a:avLst>
              <a:gd name="adj" fmla="val 12262"/>
            </a:avLst>
          </a:prstGeom>
        </p:spPr>
        <p:txBody>
          <a:bodyPr/>
          <a:lstStyle>
            <a:lvl1pPr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51903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6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0A1747CD-1828-21BE-25EC-0486DF500F22}"/>
              </a:ext>
            </a:extLst>
          </p:cNvPr>
          <p:cNvSpPr/>
          <p:nvPr userDrawn="1"/>
        </p:nvSpPr>
        <p:spPr bwMode="auto">
          <a:xfrm>
            <a:off x="4644008" y="1131590"/>
            <a:ext cx="4169153" cy="1620000"/>
          </a:xfrm>
          <a:prstGeom prst="roundRect">
            <a:avLst>
              <a:gd name="adj" fmla="val 1131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FE7CB369-A01A-F37A-92F4-461594AF5682}"/>
              </a:ext>
            </a:extLst>
          </p:cNvPr>
          <p:cNvSpPr/>
          <p:nvPr userDrawn="1"/>
        </p:nvSpPr>
        <p:spPr bwMode="auto">
          <a:xfrm>
            <a:off x="324000" y="1131590"/>
            <a:ext cx="4169153" cy="1620000"/>
          </a:xfrm>
          <a:prstGeom prst="roundRect">
            <a:avLst>
              <a:gd name="adj" fmla="val 1131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EC65C43E-61D0-AF77-15F2-C4710D97D9FA}"/>
              </a:ext>
            </a:extLst>
          </p:cNvPr>
          <p:cNvSpPr/>
          <p:nvPr userDrawn="1"/>
        </p:nvSpPr>
        <p:spPr bwMode="auto">
          <a:xfrm>
            <a:off x="4644008" y="2896621"/>
            <a:ext cx="4169153" cy="1620000"/>
          </a:xfrm>
          <a:prstGeom prst="roundRect">
            <a:avLst>
              <a:gd name="adj" fmla="val 1131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7" name="Скругленный прямоугольник 16">
            <a:extLst>
              <a:ext uri="{FF2B5EF4-FFF2-40B4-BE49-F238E27FC236}">
                <a16:creationId xmlns:a16="http://schemas.microsoft.com/office/drawing/2014/main" id="{1905323D-5586-E66C-2EA8-1D4315E55F81}"/>
              </a:ext>
            </a:extLst>
          </p:cNvPr>
          <p:cNvSpPr/>
          <p:nvPr userDrawn="1"/>
        </p:nvSpPr>
        <p:spPr bwMode="auto">
          <a:xfrm>
            <a:off x="324000" y="2896621"/>
            <a:ext cx="4169153" cy="1620000"/>
          </a:xfrm>
          <a:prstGeom prst="roundRect">
            <a:avLst>
              <a:gd name="adj" fmla="val 1131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 </a:t>
            </a:r>
            <a:r>
              <a:rPr lang="ru-RU" dirty="0"/>
              <a:t>в 2 строки</a:t>
            </a:r>
            <a:br>
              <a:rPr lang="ru-RU" dirty="0"/>
            </a:br>
            <a:r>
              <a:rPr lang="ru-RU" dirty="0"/>
              <a:t>с графиком/диаграммой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Текст 35">
            <a:extLst>
              <a:ext uri="{FF2B5EF4-FFF2-40B4-BE49-F238E27FC236}">
                <a16:creationId xmlns:a16="http://schemas.microsoft.com/office/drawing/2014/main" id="{7AC86701-B6BF-CB4D-58ED-A8DAA58B7D8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6000" y="3099335"/>
            <a:ext cx="3668018" cy="46166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ru-RU" sz="1000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  <p:sp>
        <p:nvSpPr>
          <p:cNvPr id="10" name="Текст 35">
            <a:extLst>
              <a:ext uri="{FF2B5EF4-FFF2-40B4-BE49-F238E27FC236}">
                <a16:creationId xmlns:a16="http://schemas.microsoft.com/office/drawing/2014/main" id="{FE162470-56A0-2A16-9896-EFCE8B87400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28283" y="3099335"/>
            <a:ext cx="3668018" cy="46166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ru-RU" sz="1000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  <p:sp>
        <p:nvSpPr>
          <p:cNvPr id="14" name="Диаграмма 5">
            <a:extLst>
              <a:ext uri="{FF2B5EF4-FFF2-40B4-BE49-F238E27FC236}">
                <a16:creationId xmlns:a16="http://schemas.microsoft.com/office/drawing/2014/main" id="{64C70392-3F12-E989-22CD-F8B6B088F6A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337051" y="1223010"/>
            <a:ext cx="3852000" cy="138303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/>
            </a:lvl1pPr>
          </a:lstStyle>
          <a:p>
            <a:endParaRPr lang="ru-RU" dirty="0"/>
          </a:p>
        </p:txBody>
      </p:sp>
      <p:sp>
        <p:nvSpPr>
          <p:cNvPr id="16" name="Диаграмма 5">
            <a:extLst>
              <a:ext uri="{FF2B5EF4-FFF2-40B4-BE49-F238E27FC236}">
                <a16:creationId xmlns:a16="http://schemas.microsoft.com/office/drawing/2014/main" id="{9D67E78D-B405-FDBD-0BC8-92036D655B85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4644008" y="1223010"/>
            <a:ext cx="3852000" cy="138303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0833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6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BD79A5AC-7531-4421-F42B-817E22ED231C}"/>
              </a:ext>
            </a:extLst>
          </p:cNvPr>
          <p:cNvSpPr/>
          <p:nvPr userDrawn="1"/>
        </p:nvSpPr>
        <p:spPr bwMode="auto">
          <a:xfrm>
            <a:off x="4644008" y="1131590"/>
            <a:ext cx="4169153" cy="1620000"/>
          </a:xfrm>
          <a:prstGeom prst="roundRect">
            <a:avLst>
              <a:gd name="adj" fmla="val 1131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AB78FD81-5503-E462-2230-44157B1E4158}"/>
              </a:ext>
            </a:extLst>
          </p:cNvPr>
          <p:cNvSpPr/>
          <p:nvPr userDrawn="1"/>
        </p:nvSpPr>
        <p:spPr bwMode="auto">
          <a:xfrm>
            <a:off x="324000" y="1131590"/>
            <a:ext cx="4169153" cy="1620000"/>
          </a:xfrm>
          <a:prstGeom prst="roundRect">
            <a:avLst>
              <a:gd name="adj" fmla="val 1131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B48D2B9D-6FD9-EEAB-D664-20DDBEFB7EF9}"/>
              </a:ext>
            </a:extLst>
          </p:cNvPr>
          <p:cNvSpPr/>
          <p:nvPr userDrawn="1"/>
        </p:nvSpPr>
        <p:spPr bwMode="auto">
          <a:xfrm>
            <a:off x="4644008" y="2896621"/>
            <a:ext cx="4169153" cy="1620000"/>
          </a:xfrm>
          <a:prstGeom prst="roundRect">
            <a:avLst>
              <a:gd name="adj" fmla="val 1131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7" name="Скругленный прямоугольник 16">
            <a:extLst>
              <a:ext uri="{FF2B5EF4-FFF2-40B4-BE49-F238E27FC236}">
                <a16:creationId xmlns:a16="http://schemas.microsoft.com/office/drawing/2014/main" id="{10116C3D-E93A-7544-3C84-01D4277FA3C9}"/>
              </a:ext>
            </a:extLst>
          </p:cNvPr>
          <p:cNvSpPr/>
          <p:nvPr userDrawn="1"/>
        </p:nvSpPr>
        <p:spPr bwMode="auto">
          <a:xfrm>
            <a:off x="324000" y="2896621"/>
            <a:ext cx="4169153" cy="1620000"/>
          </a:xfrm>
          <a:prstGeom prst="roundRect">
            <a:avLst>
              <a:gd name="adj" fmla="val 1131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9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 </a:t>
            </a:r>
            <a:r>
              <a:rPr lang="ru-RU" dirty="0"/>
              <a:t>в 2 строки</a:t>
            </a:r>
            <a:br>
              <a:rPr lang="ru-RU" dirty="0"/>
            </a:br>
            <a:r>
              <a:rPr lang="ru-RU" dirty="0"/>
              <a:t>с графиком/диаграммой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Диаграмма 5">
            <a:extLst>
              <a:ext uri="{FF2B5EF4-FFF2-40B4-BE49-F238E27FC236}">
                <a16:creationId xmlns:a16="http://schemas.microsoft.com/office/drawing/2014/main" id="{64C70392-3F12-E989-22CD-F8B6B088F6A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337051" y="1223010"/>
            <a:ext cx="3852000" cy="138303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/>
            </a:lvl1pPr>
          </a:lstStyle>
          <a:p>
            <a:endParaRPr lang="ru-RU" dirty="0"/>
          </a:p>
        </p:txBody>
      </p:sp>
      <p:sp>
        <p:nvSpPr>
          <p:cNvPr id="16" name="Диаграмма 5">
            <a:extLst>
              <a:ext uri="{FF2B5EF4-FFF2-40B4-BE49-F238E27FC236}">
                <a16:creationId xmlns:a16="http://schemas.microsoft.com/office/drawing/2014/main" id="{9D67E78D-B405-FDBD-0BC8-92036D655B85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4644008" y="1223010"/>
            <a:ext cx="3852000" cy="138303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/>
            </a:lvl1pPr>
          </a:lstStyle>
          <a:p>
            <a:endParaRPr lang="ru-RU" dirty="0"/>
          </a:p>
        </p:txBody>
      </p:sp>
      <p:sp>
        <p:nvSpPr>
          <p:cNvPr id="2" name="Диаграмма 5">
            <a:extLst>
              <a:ext uri="{FF2B5EF4-FFF2-40B4-BE49-F238E27FC236}">
                <a16:creationId xmlns:a16="http://schemas.microsoft.com/office/drawing/2014/main" id="{58A8722B-CDB9-8707-A996-025E5283757E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337051" y="3003798"/>
            <a:ext cx="3852000" cy="138303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/>
            </a:lvl1pPr>
          </a:lstStyle>
          <a:p>
            <a:endParaRPr lang="ru-RU" dirty="0"/>
          </a:p>
        </p:txBody>
      </p:sp>
      <p:sp>
        <p:nvSpPr>
          <p:cNvPr id="6" name="Диаграмма 5">
            <a:extLst>
              <a:ext uri="{FF2B5EF4-FFF2-40B4-BE49-F238E27FC236}">
                <a16:creationId xmlns:a16="http://schemas.microsoft.com/office/drawing/2014/main" id="{6ECCC373-152B-CD89-B717-62E3878E7A03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4644008" y="3003798"/>
            <a:ext cx="3852000" cy="138303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8677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6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9582D1AD-4C98-5FDC-69A6-5513EE9B235D}"/>
              </a:ext>
            </a:extLst>
          </p:cNvPr>
          <p:cNvSpPr/>
          <p:nvPr userDrawn="1"/>
        </p:nvSpPr>
        <p:spPr bwMode="auto">
          <a:xfrm>
            <a:off x="4644008" y="2896621"/>
            <a:ext cx="4169153" cy="1620000"/>
          </a:xfrm>
          <a:prstGeom prst="roundRect">
            <a:avLst>
              <a:gd name="adj" fmla="val 11310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87314ADC-248D-B1C1-1001-F23237FA3152}"/>
              </a:ext>
            </a:extLst>
          </p:cNvPr>
          <p:cNvSpPr/>
          <p:nvPr userDrawn="1"/>
        </p:nvSpPr>
        <p:spPr bwMode="auto">
          <a:xfrm>
            <a:off x="323526" y="1131888"/>
            <a:ext cx="4169153" cy="3384549"/>
          </a:xfrm>
          <a:prstGeom prst="roundRect">
            <a:avLst>
              <a:gd name="adj" fmla="val 6526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2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 </a:t>
            </a:r>
            <a:r>
              <a:rPr lang="ru-RU" dirty="0"/>
              <a:t>в 2 строки</a:t>
            </a:r>
            <a:br>
              <a:rPr lang="ru-RU" dirty="0"/>
            </a:br>
            <a:r>
              <a:rPr lang="ru-RU" dirty="0"/>
              <a:t>с графиком/диаграммой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Диаграмма 5">
            <a:extLst>
              <a:ext uri="{FF2B5EF4-FFF2-40B4-BE49-F238E27FC236}">
                <a16:creationId xmlns:a16="http://schemas.microsoft.com/office/drawing/2014/main" id="{E88E94A5-F5B0-8DD9-B168-33F7E0DE223D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29283" y="1234440"/>
            <a:ext cx="3852000" cy="307467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/>
            </a:lvl1pPr>
          </a:lstStyle>
          <a:p>
            <a:endParaRPr lang="ru-RU" dirty="0"/>
          </a:p>
        </p:txBody>
      </p:sp>
      <p:sp>
        <p:nvSpPr>
          <p:cNvPr id="3" name="Текст 35">
            <a:extLst>
              <a:ext uri="{FF2B5EF4-FFF2-40B4-BE49-F238E27FC236}">
                <a16:creationId xmlns:a16="http://schemas.microsoft.com/office/drawing/2014/main" id="{C9DFAD72-F1F1-DBA8-E2F5-DE6169833F5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28283" y="3099335"/>
            <a:ext cx="3668018" cy="46166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ru-RU" sz="1000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79445176-F9E5-1FF1-B222-8370BC8FF16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644000" y="1130300"/>
            <a:ext cx="4161600" cy="1620000"/>
          </a:xfrm>
          <a:prstGeom prst="roundRect">
            <a:avLst>
              <a:gd name="adj" fmla="val 12262"/>
            </a:avLst>
          </a:prstGeom>
        </p:spPr>
        <p:txBody>
          <a:bodyPr/>
          <a:lstStyle>
            <a:lvl1pPr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32251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7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E9F099DE-1506-036D-AE1C-7BC9E1DDDA2B}"/>
              </a:ext>
            </a:extLst>
          </p:cNvPr>
          <p:cNvSpPr/>
          <p:nvPr userDrawn="1"/>
        </p:nvSpPr>
        <p:spPr bwMode="auto">
          <a:xfrm>
            <a:off x="324000" y="2896621"/>
            <a:ext cx="4169153" cy="1620000"/>
          </a:xfrm>
          <a:prstGeom prst="roundRect">
            <a:avLst>
              <a:gd name="adj" fmla="val 11310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6E89EA20-D900-3D7B-1CCF-459914F5F11D}"/>
              </a:ext>
            </a:extLst>
          </p:cNvPr>
          <p:cNvSpPr/>
          <p:nvPr userDrawn="1"/>
        </p:nvSpPr>
        <p:spPr bwMode="auto">
          <a:xfrm>
            <a:off x="4651200" y="1131888"/>
            <a:ext cx="4169153" cy="3384549"/>
          </a:xfrm>
          <a:prstGeom prst="roundRect">
            <a:avLst>
              <a:gd name="adj" fmla="val 6526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4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 </a:t>
            </a:r>
            <a:r>
              <a:rPr lang="ru-RU" dirty="0"/>
              <a:t>в 2 строки</a:t>
            </a:r>
            <a:br>
              <a:rPr lang="ru-RU" dirty="0"/>
            </a:br>
            <a:r>
              <a:rPr lang="ru-RU" dirty="0"/>
              <a:t>с графиком/диаграммой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Диаграмма 5">
            <a:extLst>
              <a:ext uri="{FF2B5EF4-FFF2-40B4-BE49-F238E27FC236}">
                <a16:creationId xmlns:a16="http://schemas.microsoft.com/office/drawing/2014/main" id="{E88E94A5-F5B0-8DD9-B168-33F7E0DE223D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945337" y="1234440"/>
            <a:ext cx="3852000" cy="307467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/>
            </a:lvl1pPr>
          </a:lstStyle>
          <a:p>
            <a:endParaRPr lang="ru-RU" dirty="0"/>
          </a:p>
        </p:txBody>
      </p:sp>
      <p:sp>
        <p:nvSpPr>
          <p:cNvPr id="3" name="Текст 35">
            <a:extLst>
              <a:ext uri="{FF2B5EF4-FFF2-40B4-BE49-F238E27FC236}">
                <a16:creationId xmlns:a16="http://schemas.microsoft.com/office/drawing/2014/main" id="{7AC86701-B6BF-CB4D-58ED-A8DAA58B7D8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6000" y="3099335"/>
            <a:ext cx="3668018" cy="46166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ru-RU" sz="1000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придают слайдам слегка журнальный вид.</a:t>
            </a:r>
            <a:endParaRPr lang="ru-RU" dirty="0"/>
          </a:p>
        </p:txBody>
      </p:sp>
      <p:sp>
        <p:nvSpPr>
          <p:cNvPr id="5" name="Рисунок 11">
            <a:extLst>
              <a:ext uri="{FF2B5EF4-FFF2-40B4-BE49-F238E27FC236}">
                <a16:creationId xmlns:a16="http://schemas.microsoft.com/office/drawing/2014/main" id="{834365C0-6A6D-467F-570B-BB3227DEBC7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7051" y="1130300"/>
            <a:ext cx="4161600" cy="1620000"/>
          </a:xfrm>
          <a:prstGeom prst="roundRect">
            <a:avLst>
              <a:gd name="adj" fmla="val 12262"/>
            </a:avLst>
          </a:prstGeom>
        </p:spPr>
        <p:txBody>
          <a:bodyPr/>
          <a:lstStyle>
            <a:lvl1pPr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526954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7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3CD9CD89-3AD8-FF4F-C4A5-ECC7EAC2BBF5}"/>
              </a:ext>
            </a:extLst>
          </p:cNvPr>
          <p:cNvSpPr/>
          <p:nvPr userDrawn="1"/>
        </p:nvSpPr>
        <p:spPr bwMode="auto">
          <a:xfrm>
            <a:off x="323528" y="1131888"/>
            <a:ext cx="8496622" cy="3384550"/>
          </a:xfrm>
          <a:prstGeom prst="roundRect">
            <a:avLst>
              <a:gd name="adj" fmla="val 6648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6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7700" y="339724"/>
            <a:ext cx="7848600" cy="684213"/>
          </a:xfrm>
        </p:spPr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 </a:t>
            </a:r>
            <a:r>
              <a:rPr lang="ru-RU" dirty="0"/>
              <a:t>в 2 строки</a:t>
            </a:r>
            <a:br>
              <a:rPr lang="ru-RU" dirty="0"/>
            </a:br>
            <a:r>
              <a:rPr lang="ru-RU" dirty="0"/>
              <a:t>с графиком/диаграммой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Диаграмма 4">
            <a:extLst>
              <a:ext uri="{FF2B5EF4-FFF2-40B4-BE49-F238E27FC236}">
                <a16:creationId xmlns:a16="http://schemas.microsoft.com/office/drawing/2014/main" id="{A07DF2D9-BF09-A5B1-00B9-66C2900C24B1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47700" y="1717963"/>
            <a:ext cx="7848600" cy="27709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  <a:defRPr lang="ru-RU" sz="10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  <a:lvl2pPr marL="0" indent="0" algn="l" defTabSz="778986" rtl="0" eaLnBrk="1" fontAlgn="base" latinLnBrk="0" hangingPunct="1">
              <a:lnSpc>
                <a:spcPts val="148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4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2pPr>
            <a:lvl3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1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3pPr>
            <a:lvl4pPr marL="0" indent="0" algn="l" defTabSz="778986" rtl="0" eaLnBrk="1" fontAlgn="base" latinLnBrk="0" hangingPunct="1">
              <a:lnSpc>
                <a:spcPts val="112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4pPr>
            <a:lvl5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875" kern="1200" dirty="0">
                <a:solidFill>
                  <a:srgbClr val="003D4C">
                    <a:alpha val="100000"/>
                  </a:srgbClr>
                </a:solidFill>
                <a:latin typeface="Roboto Regular" pitchFamily="34" charset="0"/>
                <a:ea typeface="Roboto Regular" pitchFamily="34" charset="-122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dirty="0"/>
              <a:t>Ваш график</a:t>
            </a:r>
          </a:p>
        </p:txBody>
      </p:sp>
    </p:spTree>
    <p:extLst>
      <p:ext uri="{BB962C8B-B14F-4D97-AF65-F5344CB8AC3E}">
        <p14:creationId xmlns:p14="http://schemas.microsoft.com/office/powerpoint/2010/main" val="5064504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D485A94E-5E74-3608-35B5-8E9445C7EDE1}"/>
              </a:ext>
            </a:extLst>
          </p:cNvPr>
          <p:cNvSpPr/>
          <p:nvPr userDrawn="1"/>
        </p:nvSpPr>
        <p:spPr bwMode="auto">
          <a:xfrm>
            <a:off x="323851" y="1133779"/>
            <a:ext cx="2760312" cy="3382659"/>
          </a:xfrm>
          <a:prstGeom prst="roundRect">
            <a:avLst>
              <a:gd name="adj" fmla="val 7744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7F91BBC7-637A-AC3E-EE96-FD1538F41534}"/>
              </a:ext>
            </a:extLst>
          </p:cNvPr>
          <p:cNvSpPr/>
          <p:nvPr userDrawn="1"/>
        </p:nvSpPr>
        <p:spPr bwMode="auto">
          <a:xfrm>
            <a:off x="3198737" y="1131590"/>
            <a:ext cx="2760312" cy="3382659"/>
          </a:xfrm>
          <a:prstGeom prst="roundRect">
            <a:avLst>
              <a:gd name="adj" fmla="val 7836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BC3CC45C-5B04-4BCB-E7B1-5C97218BA9A3}"/>
              </a:ext>
            </a:extLst>
          </p:cNvPr>
          <p:cNvSpPr/>
          <p:nvPr userDrawn="1"/>
        </p:nvSpPr>
        <p:spPr bwMode="auto">
          <a:xfrm>
            <a:off x="6084168" y="1131590"/>
            <a:ext cx="2760312" cy="3382659"/>
          </a:xfrm>
          <a:prstGeom prst="roundRect">
            <a:avLst>
              <a:gd name="adj" fmla="val 7468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в 2 строки для слайда с </a:t>
            </a:r>
            <a:r>
              <a:rPr lang="ru-RU" dirty="0" err="1">
                <a:effectLst/>
              </a:rPr>
              <a:t>хайлайтами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7" name="Текст 35">
            <a:extLst>
              <a:ext uri="{FF2B5EF4-FFF2-40B4-BE49-F238E27FC236}">
                <a16:creationId xmlns:a16="http://schemas.microsoft.com/office/drawing/2014/main" id="{16CB427A-5E6A-23BE-7C0D-E6C6E7CB4B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1090" y="1498600"/>
            <a:ext cx="2151063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журнальный вид.</a:t>
            </a:r>
            <a:endParaRPr lang="ru-RU" dirty="0"/>
          </a:p>
        </p:txBody>
      </p:sp>
      <p:sp>
        <p:nvSpPr>
          <p:cNvPr id="41" name="Текст 35">
            <a:extLst>
              <a:ext uri="{FF2B5EF4-FFF2-40B4-BE49-F238E27FC236}">
                <a16:creationId xmlns:a16="http://schemas.microsoft.com/office/drawing/2014/main" id="{576EEFCB-D07B-EA1F-0662-33B4279229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75976" y="1496411"/>
            <a:ext cx="2151063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журнальный вид.</a:t>
            </a:r>
            <a:endParaRPr lang="ru-RU" dirty="0"/>
          </a:p>
        </p:txBody>
      </p:sp>
      <p:sp>
        <p:nvSpPr>
          <p:cNvPr id="43" name="Текст 35">
            <a:extLst>
              <a:ext uri="{FF2B5EF4-FFF2-40B4-BE49-F238E27FC236}">
                <a16:creationId xmlns:a16="http://schemas.microsoft.com/office/drawing/2014/main" id="{0D3F6312-4B6A-50E8-B909-A867018B25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61407" y="1496411"/>
            <a:ext cx="2151063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журнальный вид.</a:t>
            </a:r>
            <a:endParaRPr lang="ru-RU" dirty="0"/>
          </a:p>
        </p:txBody>
      </p:sp>
      <p:sp>
        <p:nvSpPr>
          <p:cNvPr id="15" name="Текст 35">
            <a:extLst>
              <a:ext uri="{FF2B5EF4-FFF2-40B4-BE49-F238E27FC236}">
                <a16:creationId xmlns:a16="http://schemas.microsoft.com/office/drawing/2014/main" id="{93BFF726-9A41-D0A1-8936-56FC955D8A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3578" y="1404268"/>
            <a:ext cx="668778" cy="430887"/>
          </a:xfrm>
        </p:spPr>
        <p:txBody>
          <a:bodyPr>
            <a:spAutoFit/>
          </a:bodyPr>
          <a:lstStyle>
            <a:lvl1pPr mar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Wingdings" charset="2"/>
              <a:buNone/>
              <a:defRPr lang="ru-RU" sz="2800" b="0" i="0" kern="1200" dirty="0">
                <a:solidFill>
                  <a:schemeClr val="bg2"/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</a:lstStyle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en-US" dirty="0">
                <a:effectLst/>
              </a:rPr>
              <a:t>XX</a:t>
            </a:r>
            <a:endParaRPr lang="ru-RU" dirty="0"/>
          </a:p>
        </p:txBody>
      </p:sp>
      <p:sp>
        <p:nvSpPr>
          <p:cNvPr id="16" name="Текст 35">
            <a:extLst>
              <a:ext uri="{FF2B5EF4-FFF2-40B4-BE49-F238E27FC236}">
                <a16:creationId xmlns:a16="http://schemas.microsoft.com/office/drawing/2014/main" id="{407866FD-BDF5-B235-7195-B28DFC03E7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81905" y="1404268"/>
            <a:ext cx="668778" cy="430887"/>
          </a:xfrm>
        </p:spPr>
        <p:txBody>
          <a:bodyPr>
            <a:spAutoFit/>
          </a:bodyPr>
          <a:lstStyle>
            <a:lvl1pPr mar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Wingdings" charset="2"/>
              <a:buNone/>
              <a:defRPr lang="ru-RU" sz="2800" b="0" i="0" kern="1200" dirty="0">
                <a:solidFill>
                  <a:schemeClr val="bg2"/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</a:lstStyle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en-US" dirty="0">
                <a:effectLst/>
              </a:rPr>
              <a:t>XX</a:t>
            </a:r>
            <a:endParaRPr lang="ru-RU" dirty="0"/>
          </a:p>
        </p:txBody>
      </p:sp>
      <p:sp>
        <p:nvSpPr>
          <p:cNvPr id="17" name="Текст 35">
            <a:extLst>
              <a:ext uri="{FF2B5EF4-FFF2-40B4-BE49-F238E27FC236}">
                <a16:creationId xmlns:a16="http://schemas.microsoft.com/office/drawing/2014/main" id="{284A7C7F-E199-53AF-1A69-69599548917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62225" y="1404268"/>
            <a:ext cx="668778" cy="430887"/>
          </a:xfrm>
        </p:spPr>
        <p:txBody>
          <a:bodyPr>
            <a:spAutoFit/>
          </a:bodyPr>
          <a:lstStyle>
            <a:lvl1pPr mar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Wingdings" charset="2"/>
              <a:buNone/>
              <a:defRPr lang="ru-RU" sz="2800" b="0" i="0" kern="1200" dirty="0">
                <a:solidFill>
                  <a:schemeClr val="bg2"/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</a:lstStyle>
          <a:p>
            <a:pPr marL="0" lv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en-US" dirty="0">
                <a:effectLst/>
              </a:rPr>
              <a:t>XX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3485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7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9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 </a:t>
            </a:r>
            <a:r>
              <a:rPr lang="ru-RU" dirty="0"/>
              <a:t>в 2 строки</a:t>
            </a:r>
            <a:br>
              <a:rPr lang="ru-RU" dirty="0"/>
            </a:br>
            <a:r>
              <a:rPr lang="ru-RU" dirty="0"/>
              <a:t>с графиком/диаграммой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Диаграмма 4">
            <a:extLst>
              <a:ext uri="{FF2B5EF4-FFF2-40B4-BE49-F238E27FC236}">
                <a16:creationId xmlns:a16="http://schemas.microsoft.com/office/drawing/2014/main" id="{A07DF2D9-BF09-A5B1-00B9-66C2900C24B1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47700" y="1536710"/>
            <a:ext cx="7844400" cy="29797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  <a:defRPr lang="ru-RU" sz="10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  <a:lvl2pPr marL="0" indent="0" algn="l" defTabSz="778986" rtl="0" eaLnBrk="1" fontAlgn="base" latinLnBrk="0" hangingPunct="1">
              <a:lnSpc>
                <a:spcPts val="148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4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2pPr>
            <a:lvl3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1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3pPr>
            <a:lvl4pPr marL="0" indent="0" algn="l" defTabSz="778986" rtl="0" eaLnBrk="1" fontAlgn="base" latinLnBrk="0" hangingPunct="1">
              <a:lnSpc>
                <a:spcPts val="112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4pPr>
            <a:lvl5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875" kern="1200" dirty="0">
                <a:solidFill>
                  <a:srgbClr val="003D4C">
                    <a:alpha val="100000"/>
                  </a:srgbClr>
                </a:solidFill>
                <a:latin typeface="Roboto Regular" pitchFamily="34" charset="0"/>
                <a:ea typeface="Roboto Regular" pitchFamily="34" charset="-122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dirty="0"/>
              <a:t>Ваш график</a:t>
            </a:r>
          </a:p>
        </p:txBody>
      </p:sp>
    </p:spTree>
    <p:extLst>
      <p:ext uri="{BB962C8B-B14F-4D97-AF65-F5344CB8AC3E}">
        <p14:creationId xmlns:p14="http://schemas.microsoft.com/office/powerpoint/2010/main" val="18810560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7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4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 </a:t>
            </a:r>
            <a:r>
              <a:rPr lang="ru-RU" dirty="0"/>
              <a:t>в 2 строки</a:t>
            </a:r>
            <a:br>
              <a:rPr lang="ru-RU" dirty="0"/>
            </a:br>
            <a:r>
              <a:rPr lang="ru-RU" dirty="0"/>
              <a:t>с графиком/диаграммой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Таблица 10">
            <a:extLst>
              <a:ext uri="{FF2B5EF4-FFF2-40B4-BE49-F238E27FC236}">
                <a16:creationId xmlns:a16="http://schemas.microsoft.com/office/drawing/2014/main" id="{17BA4F02-2C36-3AE4-16DB-3E4D5FF17E80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49800" y="1163638"/>
            <a:ext cx="7844400" cy="3338512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3265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7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C86D3086-DAB3-1B87-40A3-5A0C10C69FC9}"/>
              </a:ext>
            </a:extLst>
          </p:cNvPr>
          <p:cNvSpPr/>
          <p:nvPr userDrawn="1"/>
        </p:nvSpPr>
        <p:spPr bwMode="auto">
          <a:xfrm>
            <a:off x="4651200" y="1131888"/>
            <a:ext cx="4169153" cy="3384549"/>
          </a:xfrm>
          <a:prstGeom prst="roundRect">
            <a:avLst>
              <a:gd name="adj" fmla="val 6526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6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 </a:t>
            </a:r>
            <a:r>
              <a:rPr lang="ru-RU" dirty="0"/>
              <a:t>в 2 строки</a:t>
            </a:r>
            <a:br>
              <a:rPr lang="ru-RU" dirty="0"/>
            </a:br>
            <a:r>
              <a:rPr lang="ru-RU" dirty="0"/>
              <a:t>с графиком/диаграммой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Таблица 10">
            <a:extLst>
              <a:ext uri="{FF2B5EF4-FFF2-40B4-BE49-F238E27FC236}">
                <a16:creationId xmlns:a16="http://schemas.microsoft.com/office/drawing/2014/main" id="{17BA4F02-2C36-3AE4-16DB-3E4D5FF17E80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63655" y="1163638"/>
            <a:ext cx="3755945" cy="3338512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14" name="Текст 6">
            <a:extLst>
              <a:ext uri="{FF2B5EF4-FFF2-40B4-BE49-F238E27FC236}">
                <a16:creationId xmlns:a16="http://schemas.microsoft.com/office/drawing/2014/main" id="{2BC4908B-643F-F7CE-0117-87E2DDA951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95850" y="1370013"/>
            <a:ext cx="3600450" cy="342723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lang="ru-RU" sz="10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lv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</a:pPr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1320935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7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06D4CA3-1392-D558-C87A-B9BF79AE41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26400" y="1939924"/>
            <a:ext cx="3129169" cy="399015"/>
          </a:xfrm>
        </p:spPr>
        <p:txBody>
          <a:bodyPr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 b="0"/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Название презентации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8986" rtl="0" eaLnBrk="1" latinLnBrk="0" hangingPunct="1">
              <a:defRPr lang="en-US" sz="1000" b="0" kern="1200" dirty="0">
                <a:solidFill>
                  <a:srgbClr val="003D4C">
                    <a:alpha val="55000"/>
                  </a:srgbClr>
                </a:solidFill>
                <a:latin typeface="+mn-lt"/>
                <a:ea typeface="+mn-ea"/>
                <a:cs typeface="+mn-cs"/>
              </a:defRPr>
            </a:lvl1pPr>
            <a:lvl2pPr marL="38949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8986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479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7972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46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6957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6450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5943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ru-RU"/>
          </a:p>
        </p:txBody>
      </p:sp>
      <p:sp>
        <p:nvSpPr>
          <p:cNvPr id="10" name="Рисунок 6">
            <a:extLst>
              <a:ext uri="{FF2B5EF4-FFF2-40B4-BE49-F238E27FC236}">
                <a16:creationId xmlns:a16="http://schemas.microsoft.com/office/drawing/2014/main" id="{85DD3882-36D3-C7C0-D55F-A500727AC260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4578039" y="463588"/>
            <a:ext cx="900000" cy="900000"/>
          </a:xfrm>
          <a:prstGeom prst="ellipse">
            <a:avLst/>
          </a:prstGeom>
        </p:spPr>
        <p:txBody>
          <a:bodyPr/>
          <a:lstStyle>
            <a:lvl1pPr>
              <a:defRPr sz="1200" b="0" i="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1" name="Текст 23">
            <a:extLst>
              <a:ext uri="{FF2B5EF4-FFF2-40B4-BE49-F238E27FC236}">
                <a16:creationId xmlns:a16="http://schemas.microsoft.com/office/drawing/2014/main" id="{FE4DDC7D-2B85-6505-F932-5ED36938BAF2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572000" y="1419638"/>
            <a:ext cx="1902996" cy="96575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lang="ru-RU" sz="14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  <a:lvl3pPr>
              <a:defRPr lang="ru-RU" sz="10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3pPr>
            <a:lvl4pPr>
              <a:defRPr lang="ru-RU" sz="10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900"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endParaRPr lang="ru-RU" dirty="0"/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</p:txBody>
      </p:sp>
      <p:sp>
        <p:nvSpPr>
          <p:cNvPr id="12" name="Рисунок 6">
            <a:extLst>
              <a:ext uri="{FF2B5EF4-FFF2-40B4-BE49-F238E27FC236}">
                <a16:creationId xmlns:a16="http://schemas.microsoft.com/office/drawing/2014/main" id="{27692793-1302-0278-F8D6-F5B94957066C}"/>
              </a:ext>
            </a:extLst>
          </p:cNvPr>
          <p:cNvSpPr>
            <a:spLocks noGrp="1" noChangeAspect="1"/>
          </p:cNvSpPr>
          <p:nvPr>
            <p:ph type="pic" sz="quarter" idx="48" hasCustomPrompt="1"/>
          </p:nvPr>
        </p:nvSpPr>
        <p:spPr>
          <a:xfrm>
            <a:off x="6565583" y="463588"/>
            <a:ext cx="900000" cy="900000"/>
          </a:xfrm>
          <a:prstGeom prst="ellipse">
            <a:avLst/>
          </a:prstGeom>
        </p:spPr>
        <p:txBody>
          <a:bodyPr/>
          <a:lstStyle>
            <a:lvl1pPr>
              <a:defRPr sz="1200" b="0" i="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4" name="Текст 23">
            <a:extLst>
              <a:ext uri="{FF2B5EF4-FFF2-40B4-BE49-F238E27FC236}">
                <a16:creationId xmlns:a16="http://schemas.microsoft.com/office/drawing/2014/main" id="{CD3BA01B-FB24-2B97-8A30-DE75FA1F25F9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588224" y="1419638"/>
            <a:ext cx="1902996" cy="97569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lang="ru-RU" sz="14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  <a:lvl3pPr>
              <a:defRPr lang="ru-RU" sz="10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3pPr>
            <a:lvl4pPr>
              <a:defRPr lang="ru-RU" sz="10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900"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endParaRPr lang="ru-RU" dirty="0"/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50CB7C71-603E-C6B4-66B2-3329676C6512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26400" y="2385980"/>
            <a:ext cx="3151188" cy="30777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4pPr>
              <a:defRPr lang="ru-RU" sz="1000" dirty="0">
                <a:solidFill>
                  <a:schemeClr val="tx1"/>
                </a:solidFill>
              </a:defRPr>
            </a:lvl4pPr>
          </a:lstStyle>
          <a:p>
            <a:pPr lvl="3"/>
            <a:r>
              <a:rPr lang="ru-RU" dirty="0"/>
              <a:t>Обычный наборный текст.</a:t>
            </a:r>
            <a:br>
              <a:rPr lang="ru-RU" dirty="0"/>
            </a:br>
            <a:r>
              <a:rPr lang="ru-RU" dirty="0"/>
              <a:t>Разные уровни иерархии.</a:t>
            </a:r>
          </a:p>
        </p:txBody>
      </p:sp>
      <p:sp>
        <p:nvSpPr>
          <p:cNvPr id="23" name="Рисунок 6">
            <a:extLst>
              <a:ext uri="{FF2B5EF4-FFF2-40B4-BE49-F238E27FC236}">
                <a16:creationId xmlns:a16="http://schemas.microsoft.com/office/drawing/2014/main" id="{9231F091-2DC7-42E2-5D1E-3079C80D01A1}"/>
              </a:ext>
            </a:extLst>
          </p:cNvPr>
          <p:cNvSpPr>
            <a:spLocks noGrp="1" noChangeAspect="1"/>
          </p:cNvSpPr>
          <p:nvPr>
            <p:ph type="pic" sz="quarter" idx="51" hasCustomPrompt="1"/>
          </p:nvPr>
        </p:nvSpPr>
        <p:spPr>
          <a:xfrm>
            <a:off x="4572000" y="2624137"/>
            <a:ext cx="900000" cy="900000"/>
          </a:xfrm>
          <a:prstGeom prst="ellipse">
            <a:avLst/>
          </a:prstGeom>
        </p:spPr>
        <p:txBody>
          <a:bodyPr/>
          <a:lstStyle>
            <a:lvl1pPr>
              <a:defRPr sz="1200" b="0" i="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5" name="Текст 23">
            <a:extLst>
              <a:ext uri="{FF2B5EF4-FFF2-40B4-BE49-F238E27FC236}">
                <a16:creationId xmlns:a16="http://schemas.microsoft.com/office/drawing/2014/main" id="{9E5C3C1D-31EF-0D7B-10F2-31FF8DF9E25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565961" y="3580187"/>
            <a:ext cx="1902996" cy="96575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lang="ru-RU" sz="14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  <a:lvl3pPr mar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b="0" i="0" kern="1200" dirty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3pPr>
            <a:lvl4pPr mar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b="0" i="0" kern="1200" dirty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900"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endParaRPr lang="ru-RU" dirty="0"/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</p:txBody>
      </p:sp>
      <p:sp>
        <p:nvSpPr>
          <p:cNvPr id="26" name="Рисунок 6">
            <a:extLst>
              <a:ext uri="{FF2B5EF4-FFF2-40B4-BE49-F238E27FC236}">
                <a16:creationId xmlns:a16="http://schemas.microsoft.com/office/drawing/2014/main" id="{F9E7BB2C-0AE0-EC14-4FCA-5B90AC357118}"/>
              </a:ext>
            </a:extLst>
          </p:cNvPr>
          <p:cNvSpPr>
            <a:spLocks noGrp="1" noChangeAspect="1"/>
          </p:cNvSpPr>
          <p:nvPr>
            <p:ph type="pic" sz="quarter" idx="53" hasCustomPrompt="1"/>
          </p:nvPr>
        </p:nvSpPr>
        <p:spPr>
          <a:xfrm>
            <a:off x="6559544" y="2624137"/>
            <a:ext cx="900000" cy="900000"/>
          </a:xfrm>
          <a:prstGeom prst="ellipse">
            <a:avLst/>
          </a:prstGeom>
        </p:spPr>
        <p:txBody>
          <a:bodyPr/>
          <a:lstStyle>
            <a:lvl1pPr>
              <a:defRPr sz="1200" b="0" i="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7" name="Текст 23">
            <a:extLst>
              <a:ext uri="{FF2B5EF4-FFF2-40B4-BE49-F238E27FC236}">
                <a16:creationId xmlns:a16="http://schemas.microsoft.com/office/drawing/2014/main" id="{30B55403-9375-BBC4-BD2F-D031CBC4517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582185" y="3580187"/>
            <a:ext cx="1902996" cy="97569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lang="ru-RU" sz="14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  <a:lvl3pPr>
              <a:defRPr lang="ru-RU" sz="10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3pPr>
            <a:lvl4pPr>
              <a:defRPr lang="ru-RU" sz="10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900"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endParaRPr lang="ru-RU" dirty="0"/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</p:txBody>
      </p:sp>
    </p:spTree>
    <p:extLst>
      <p:ext uri="{BB962C8B-B14F-4D97-AF65-F5344CB8AC3E}">
        <p14:creationId xmlns:p14="http://schemas.microsoft.com/office/powerpoint/2010/main" val="26374469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7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BFCAF18-0F38-3BC8-5AA1-060F2BA340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ru-RU" sz="1000" b="0" kern="1200" smtClean="0">
                <a:solidFill>
                  <a:srgbClr val="003D4C">
                    <a:alpha val="55000"/>
                  </a:srgb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ru-RU" sz="1000" b="0" kern="1200">
                <a:solidFill>
                  <a:srgbClr val="003D4C">
                    <a:alpha val="55000"/>
                  </a:srgb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8986" rtl="0" eaLnBrk="1" latinLnBrk="0" hangingPunct="1">
              <a:defRPr lang="en-US" sz="1000" b="0" kern="1200">
                <a:solidFill>
                  <a:srgbClr val="003D4C">
                    <a:alpha val="55000"/>
                  </a:srgbClr>
                </a:solidFill>
                <a:latin typeface="+mn-lt"/>
                <a:ea typeface="+mn-ea"/>
                <a:cs typeface="+mn-cs"/>
              </a:defRPr>
            </a:lvl1pPr>
            <a:lvl2pPr marL="38949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8986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479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7972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46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6957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6450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5943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ru-RU" dirty="0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57421" y="1239838"/>
            <a:ext cx="1462225" cy="1462225"/>
          </a:xfrm>
          <a:prstGeom prst="ellipse">
            <a:avLst/>
          </a:prstGeom>
        </p:spPr>
        <p:txBody>
          <a:bodyPr/>
          <a:lstStyle>
            <a:lvl1pPr>
              <a:defRPr sz="1200" b="0" i="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6">
            <a:extLst>
              <a:ext uri="{FF2B5EF4-FFF2-40B4-BE49-F238E27FC236}">
                <a16:creationId xmlns:a16="http://schemas.microsoft.com/office/drawing/2014/main" id="{C7F18338-A5BC-4803-EBFF-5EDD38828448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2508975" y="1239838"/>
            <a:ext cx="1462225" cy="1462225"/>
          </a:xfrm>
          <a:prstGeom prst="ellipse">
            <a:avLst/>
          </a:prstGeom>
        </p:spPr>
        <p:txBody>
          <a:bodyPr/>
          <a:lstStyle>
            <a:lvl1pPr>
              <a:defRPr sz="1200" b="0" i="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8" name="Текст 23">
            <a:extLst>
              <a:ext uri="{FF2B5EF4-FFF2-40B4-BE49-F238E27FC236}">
                <a16:creationId xmlns:a16="http://schemas.microsoft.com/office/drawing/2014/main" id="{8139B3F3-C2FC-2A33-97E8-42BF0968BD9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627784" y="2781300"/>
            <a:ext cx="1902996" cy="158957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lang="ru-RU" sz="14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  <a:lvl3pPr>
              <a:defRPr lang="ru-RU" sz="10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3pPr>
            <a:lvl4pPr>
              <a:defRPr lang="ru-RU" sz="10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000" b="0" i="0" baseline="0">
                <a:latin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3"/>
            <a:endParaRPr lang="ru-RU" dirty="0"/>
          </a:p>
          <a:p>
            <a:pPr lvl="4"/>
            <a:r>
              <a:rPr lang="en-US" dirty="0" err="1"/>
              <a:t>email@sibur.ru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10" name="Рисунок 6">
            <a:extLst>
              <a:ext uri="{FF2B5EF4-FFF2-40B4-BE49-F238E27FC236}">
                <a16:creationId xmlns:a16="http://schemas.microsoft.com/office/drawing/2014/main" id="{85DD3882-36D3-C7C0-D55F-A500727AC260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4488587" y="1239838"/>
            <a:ext cx="1462225" cy="1462225"/>
          </a:xfrm>
          <a:prstGeom prst="ellipse">
            <a:avLst/>
          </a:prstGeom>
        </p:spPr>
        <p:txBody>
          <a:bodyPr/>
          <a:lstStyle>
            <a:lvl1pPr>
              <a:defRPr sz="1200" b="0" i="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1" name="Текст 23">
            <a:extLst>
              <a:ext uri="{FF2B5EF4-FFF2-40B4-BE49-F238E27FC236}">
                <a16:creationId xmlns:a16="http://schemas.microsoft.com/office/drawing/2014/main" id="{FE4DDC7D-2B85-6505-F932-5ED36938BAF2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572000" y="2781300"/>
            <a:ext cx="1902996" cy="158957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lang="ru-RU" sz="14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  <a:lvl3pPr>
              <a:defRPr lang="ru-RU" sz="10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3pPr>
            <a:lvl4pPr>
              <a:defRPr lang="ru-RU" sz="10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000" b="0" i="0" baseline="0">
                <a:latin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3"/>
            <a:endParaRPr lang="ru-RU" dirty="0"/>
          </a:p>
          <a:p>
            <a:pPr lvl="4"/>
            <a:r>
              <a:rPr lang="en-US" dirty="0" err="1"/>
              <a:t>email@sibur.ru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12" name="Рисунок 6">
            <a:extLst>
              <a:ext uri="{FF2B5EF4-FFF2-40B4-BE49-F238E27FC236}">
                <a16:creationId xmlns:a16="http://schemas.microsoft.com/office/drawing/2014/main" id="{27692793-1302-0278-F8D6-F5B94957066C}"/>
              </a:ext>
            </a:extLst>
          </p:cNvPr>
          <p:cNvSpPr>
            <a:spLocks noGrp="1" noChangeAspect="1"/>
          </p:cNvSpPr>
          <p:nvPr>
            <p:ph type="pic" sz="quarter" idx="48" hasCustomPrompt="1"/>
          </p:nvPr>
        </p:nvSpPr>
        <p:spPr>
          <a:xfrm>
            <a:off x="6476131" y="1239838"/>
            <a:ext cx="1462225" cy="1462225"/>
          </a:xfrm>
          <a:prstGeom prst="ellipse">
            <a:avLst/>
          </a:prstGeom>
        </p:spPr>
        <p:txBody>
          <a:bodyPr/>
          <a:lstStyle>
            <a:lvl1pPr>
              <a:defRPr sz="1200" b="0" i="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4" name="Текст 23">
            <a:extLst>
              <a:ext uri="{FF2B5EF4-FFF2-40B4-BE49-F238E27FC236}">
                <a16:creationId xmlns:a16="http://schemas.microsoft.com/office/drawing/2014/main" id="{CD3BA01B-FB24-2B97-8A30-DE75FA1F25F9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588224" y="2781300"/>
            <a:ext cx="1902996" cy="158957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lang="ru-RU" sz="14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  <a:lvl3pPr>
              <a:defRPr lang="ru-RU" sz="10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3pPr>
            <a:lvl4pPr>
              <a:defRPr lang="ru-RU" sz="10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000" b="0" i="0" baseline="0">
                <a:latin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3"/>
            <a:endParaRPr lang="ru-RU" dirty="0"/>
          </a:p>
          <a:p>
            <a:pPr lvl="4"/>
            <a:r>
              <a:rPr lang="en-US" dirty="0" err="1"/>
              <a:t>email@sibur.ru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19" name="Заголовок 18">
            <a:extLst>
              <a:ext uri="{FF2B5EF4-FFF2-40B4-BE49-F238E27FC236}">
                <a16:creationId xmlns:a16="http://schemas.microsoft.com/office/drawing/2014/main" id="{7EDE95E9-46C2-6A9F-D2F3-48D19BB75B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Наша команда</a:t>
            </a:r>
          </a:p>
        </p:txBody>
      </p:sp>
      <p:sp>
        <p:nvSpPr>
          <p:cNvPr id="2" name="Текст 23">
            <a:extLst>
              <a:ext uri="{FF2B5EF4-FFF2-40B4-BE49-F238E27FC236}">
                <a16:creationId xmlns:a16="http://schemas.microsoft.com/office/drawing/2014/main" id="{B7AB7BCD-1ABC-9ABD-7240-925072F07D98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68174" y="2781300"/>
            <a:ext cx="1902996" cy="158957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lang="ru-RU" sz="14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  <a:lvl3pPr>
              <a:defRPr lang="ru-RU" sz="10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3pPr>
            <a:lvl4pPr>
              <a:defRPr lang="ru-RU" sz="10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000" b="0" i="0" baseline="0">
                <a:latin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3"/>
            <a:endParaRPr lang="ru-RU" dirty="0"/>
          </a:p>
          <a:p>
            <a:pPr lvl="4"/>
            <a:r>
              <a:rPr lang="en-US" dirty="0" err="1"/>
              <a:t>email@sibur.ru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51335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7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5A3DAAA-0BEC-879F-81B5-92A743A8167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8528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4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Контакты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r" defTabSz="778986" rtl="0" eaLnBrk="1" latinLnBrk="0" hangingPunct="1">
              <a:defRPr lang="ru-RU" sz="600" b="0" kern="1200" dirty="0">
                <a:solidFill>
                  <a:srgbClr val="003D4C">
                    <a:alpha val="55000"/>
                  </a:srgbClr>
                </a:solidFill>
                <a:latin typeface="+mn-lt"/>
                <a:ea typeface="+mn-ea"/>
                <a:cs typeface="+mn-cs"/>
              </a:defRPr>
            </a:lvl1pPr>
            <a:lvl2pPr marL="38949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8986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479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7972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46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6957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6450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5943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75379" y="1162823"/>
            <a:ext cx="3108614" cy="3108614"/>
          </a:xfrm>
          <a:prstGeom prst="ellipse">
            <a:avLst/>
          </a:prstGeom>
        </p:spPr>
        <p:txBody>
          <a:bodyPr/>
          <a:lstStyle>
            <a:lvl1pPr>
              <a:defRPr sz="1200" b="0" i="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4395738" y="1930108"/>
            <a:ext cx="3890133" cy="1961357"/>
          </a:xfrm>
          <a:prstGeom prst="rect">
            <a:avLst/>
          </a:prstGeom>
        </p:spPr>
        <p:txBody>
          <a:bodyPr/>
          <a:lstStyle>
            <a:lvl1pPr>
              <a:defRPr sz="1800" b="0" i="0"/>
            </a:lvl1pPr>
            <a:lvl3pPr marL="0" indent="0" algn="l" defTabSz="778986" rtl="0" eaLnBrk="1" fontAlgn="base" latinLnBrk="0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4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3pPr>
            <a:lvl4pPr marL="0" indent="0" algn="l" defTabSz="778986" rtl="0" eaLnBrk="1" fontAlgn="base" latinLnBrk="0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4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200" b="0" i="0" baseline="0">
                <a:solidFill>
                  <a:schemeClr val="accent1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3"/>
            <a:endParaRPr lang="ru-RU" dirty="0"/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11690847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7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6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в 2 строки для слайда с </a:t>
            </a:r>
            <a:r>
              <a:rPr lang="ru-RU" dirty="0" err="1">
                <a:effectLst/>
              </a:rPr>
              <a:t>хайлайтами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marL="0" algn="l" defTabSz="778986" rtl="0" eaLnBrk="1" latinLnBrk="0" hangingPunct="1">
              <a:defRPr lang="ru-RU" sz="1000" b="0" kern="1200" smtClean="0">
                <a:solidFill>
                  <a:srgbClr val="003D4C">
                    <a:alpha val="5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Линия">
            <a:extLst>
              <a:ext uri="{FF2B5EF4-FFF2-40B4-BE49-F238E27FC236}">
                <a16:creationId xmlns:a16="http://schemas.microsoft.com/office/drawing/2014/main" id="{A4786C02-05C5-D608-8F80-E2D1591EC75C}"/>
              </a:ext>
            </a:extLst>
          </p:cNvPr>
          <p:cNvSpPr/>
          <p:nvPr userDrawn="1"/>
        </p:nvSpPr>
        <p:spPr>
          <a:xfrm>
            <a:off x="0" y="3106007"/>
            <a:ext cx="8820150" cy="0"/>
          </a:xfrm>
          <a:prstGeom prst="line">
            <a:avLst/>
          </a:prstGeom>
          <a:ln w="25400">
            <a:solidFill>
              <a:srgbClr val="003D4C"/>
            </a:solidFill>
            <a:miter lim="400000"/>
            <a:tailEnd type="triangle"/>
          </a:ln>
        </p:spPr>
        <p:txBody>
          <a:bodyPr lIns="19050" tIns="19050" rIns="19050" bIns="19050" anchor="ctr"/>
          <a:lstStyle/>
          <a:p>
            <a:endParaRPr sz="338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Линия">
            <a:extLst>
              <a:ext uri="{FF2B5EF4-FFF2-40B4-BE49-F238E27FC236}">
                <a16:creationId xmlns:a16="http://schemas.microsoft.com/office/drawing/2014/main" id="{C43E4931-47C6-99D5-13E0-D68637A29157}"/>
              </a:ext>
            </a:extLst>
          </p:cNvPr>
          <p:cNvSpPr/>
          <p:nvPr userDrawn="1"/>
        </p:nvSpPr>
        <p:spPr>
          <a:xfrm flipH="1">
            <a:off x="807010" y="1625940"/>
            <a:ext cx="0" cy="1478543"/>
          </a:xfrm>
          <a:prstGeom prst="line">
            <a:avLst/>
          </a:prstGeom>
          <a:ln w="6350">
            <a:solidFill>
              <a:srgbClr val="B2B2B2"/>
            </a:solidFill>
            <a:prstDash val="solid"/>
          </a:ln>
        </p:spPr>
        <p:txBody>
          <a:bodyPr lIns="19050" tIns="19050" rIns="19050" bIns="19050" anchor="ctr"/>
          <a:lstStyle/>
          <a:p>
            <a:endParaRPr sz="338">
              <a:latin typeface="Arial" panose="020B0604020202020204" pitchFamily="34" charset="0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6" name="Линия">
            <a:extLst>
              <a:ext uri="{FF2B5EF4-FFF2-40B4-BE49-F238E27FC236}">
                <a16:creationId xmlns:a16="http://schemas.microsoft.com/office/drawing/2014/main" id="{CFC09974-9BC5-4EA0-1500-ECAC850972E5}"/>
              </a:ext>
            </a:extLst>
          </p:cNvPr>
          <p:cNvSpPr/>
          <p:nvPr userDrawn="1"/>
        </p:nvSpPr>
        <p:spPr>
          <a:xfrm>
            <a:off x="3170047" y="1733389"/>
            <a:ext cx="0" cy="1371094"/>
          </a:xfrm>
          <a:prstGeom prst="line">
            <a:avLst/>
          </a:prstGeom>
          <a:ln w="6350">
            <a:solidFill>
              <a:srgbClr val="B2B2B2"/>
            </a:solidFill>
            <a:prstDash val="solid"/>
          </a:ln>
        </p:spPr>
        <p:txBody>
          <a:bodyPr lIns="19050" tIns="19050" rIns="19050" bIns="19050" anchor="ctr"/>
          <a:lstStyle/>
          <a:p>
            <a:endParaRPr sz="338">
              <a:latin typeface="Arial" panose="020B0604020202020204" pitchFamily="34" charset="0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0" name="Линия">
            <a:extLst>
              <a:ext uri="{FF2B5EF4-FFF2-40B4-BE49-F238E27FC236}">
                <a16:creationId xmlns:a16="http://schemas.microsoft.com/office/drawing/2014/main" id="{29F8D160-B215-E052-817A-779C3E2C151C}"/>
              </a:ext>
            </a:extLst>
          </p:cNvPr>
          <p:cNvSpPr/>
          <p:nvPr userDrawn="1"/>
        </p:nvSpPr>
        <p:spPr>
          <a:xfrm>
            <a:off x="5533085" y="1625939"/>
            <a:ext cx="0" cy="1479600"/>
          </a:xfrm>
          <a:prstGeom prst="line">
            <a:avLst/>
          </a:prstGeom>
          <a:ln w="6350">
            <a:solidFill>
              <a:srgbClr val="B2B2B2"/>
            </a:solidFill>
            <a:prstDash val="solid"/>
          </a:ln>
        </p:spPr>
        <p:txBody>
          <a:bodyPr lIns="19050" tIns="19050" rIns="19050" bIns="19050" anchor="ctr"/>
          <a:lstStyle/>
          <a:p>
            <a:endParaRPr sz="338">
              <a:latin typeface="Arial" panose="020B0604020202020204" pitchFamily="34" charset="0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1" name="Линия">
            <a:extLst>
              <a:ext uri="{FF2B5EF4-FFF2-40B4-BE49-F238E27FC236}">
                <a16:creationId xmlns:a16="http://schemas.microsoft.com/office/drawing/2014/main" id="{A5C236FC-6F21-C292-2229-C65D9290419C}"/>
              </a:ext>
            </a:extLst>
          </p:cNvPr>
          <p:cNvSpPr/>
          <p:nvPr userDrawn="1"/>
        </p:nvSpPr>
        <p:spPr>
          <a:xfrm>
            <a:off x="7684365" y="1625939"/>
            <a:ext cx="0" cy="1479600"/>
          </a:xfrm>
          <a:prstGeom prst="line">
            <a:avLst/>
          </a:prstGeom>
          <a:ln w="6350">
            <a:solidFill>
              <a:srgbClr val="B2B2B2"/>
            </a:solidFill>
            <a:prstDash val="solid"/>
          </a:ln>
        </p:spPr>
        <p:txBody>
          <a:bodyPr lIns="19050" tIns="19050" rIns="19050" bIns="19050" anchor="ctr"/>
          <a:lstStyle/>
          <a:p>
            <a:endParaRPr sz="338">
              <a:latin typeface="Arial" panose="020B0604020202020204" pitchFamily="34" charset="0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2" name="Линия">
            <a:extLst>
              <a:ext uri="{FF2B5EF4-FFF2-40B4-BE49-F238E27FC236}">
                <a16:creationId xmlns:a16="http://schemas.microsoft.com/office/drawing/2014/main" id="{A0A59B90-9846-27D1-F32F-D3898F8B27D8}"/>
              </a:ext>
            </a:extLst>
          </p:cNvPr>
          <p:cNvSpPr/>
          <p:nvPr userDrawn="1"/>
        </p:nvSpPr>
        <p:spPr>
          <a:xfrm flipH="1">
            <a:off x="1988529" y="3102733"/>
            <a:ext cx="0" cy="968753"/>
          </a:xfrm>
          <a:prstGeom prst="line">
            <a:avLst/>
          </a:prstGeom>
          <a:ln w="6350">
            <a:solidFill>
              <a:srgbClr val="B2B2B2"/>
            </a:solidFill>
            <a:prstDash val="solid"/>
          </a:ln>
        </p:spPr>
        <p:txBody>
          <a:bodyPr lIns="19050" tIns="19050" rIns="19050" bIns="19050" anchor="ctr"/>
          <a:lstStyle/>
          <a:p>
            <a:endParaRPr sz="338">
              <a:latin typeface="Arial" panose="020B0604020202020204" pitchFamily="34" charset="0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3" name="Линия">
            <a:extLst>
              <a:ext uri="{FF2B5EF4-FFF2-40B4-BE49-F238E27FC236}">
                <a16:creationId xmlns:a16="http://schemas.microsoft.com/office/drawing/2014/main" id="{F7D23192-9A6E-2EAD-9614-3F9D6B461E7C}"/>
              </a:ext>
            </a:extLst>
          </p:cNvPr>
          <p:cNvSpPr/>
          <p:nvPr userDrawn="1"/>
        </p:nvSpPr>
        <p:spPr>
          <a:xfrm>
            <a:off x="4351566" y="3102733"/>
            <a:ext cx="0" cy="968753"/>
          </a:xfrm>
          <a:prstGeom prst="line">
            <a:avLst/>
          </a:prstGeom>
          <a:ln w="6350">
            <a:solidFill>
              <a:srgbClr val="B2B2B2"/>
            </a:solidFill>
            <a:prstDash val="solid"/>
          </a:ln>
        </p:spPr>
        <p:txBody>
          <a:bodyPr lIns="19050" tIns="19050" rIns="19050" bIns="19050" anchor="ctr"/>
          <a:lstStyle/>
          <a:p>
            <a:endParaRPr sz="338">
              <a:latin typeface="Arial" panose="020B0604020202020204" pitchFamily="34" charset="0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4" name="Линия">
            <a:extLst>
              <a:ext uri="{FF2B5EF4-FFF2-40B4-BE49-F238E27FC236}">
                <a16:creationId xmlns:a16="http://schemas.microsoft.com/office/drawing/2014/main" id="{2038B061-559D-FE7F-7432-97E47F4E225F}"/>
              </a:ext>
            </a:extLst>
          </p:cNvPr>
          <p:cNvSpPr/>
          <p:nvPr userDrawn="1"/>
        </p:nvSpPr>
        <p:spPr>
          <a:xfrm>
            <a:off x="6714604" y="3102733"/>
            <a:ext cx="0" cy="968753"/>
          </a:xfrm>
          <a:prstGeom prst="line">
            <a:avLst/>
          </a:prstGeom>
          <a:ln w="6350">
            <a:solidFill>
              <a:srgbClr val="B2B2B2"/>
            </a:solidFill>
            <a:prstDash val="solid"/>
          </a:ln>
        </p:spPr>
        <p:txBody>
          <a:bodyPr lIns="19050" tIns="19050" rIns="19050" bIns="19050" anchor="ctr"/>
          <a:lstStyle/>
          <a:p>
            <a:endParaRPr sz="338">
              <a:latin typeface="Arial" panose="020B0604020202020204" pitchFamily="34" charset="0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5" name="Текст 35">
            <a:extLst>
              <a:ext uri="{FF2B5EF4-FFF2-40B4-BE49-F238E27FC236}">
                <a16:creationId xmlns:a16="http://schemas.microsoft.com/office/drawing/2014/main" id="{F5805313-5888-ECF2-5FE7-7E14C52C651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9262" y="1635725"/>
            <a:ext cx="1957227" cy="153888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/>
              <a:t>Образец текста</a:t>
            </a:r>
          </a:p>
        </p:txBody>
      </p:sp>
      <p:sp>
        <p:nvSpPr>
          <p:cNvPr id="16" name="Текст 35">
            <a:extLst>
              <a:ext uri="{FF2B5EF4-FFF2-40B4-BE49-F238E27FC236}">
                <a16:creationId xmlns:a16="http://schemas.microsoft.com/office/drawing/2014/main" id="{62E5A22E-298B-07E9-F25A-E8C941B1BA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123728" y="3946175"/>
            <a:ext cx="1957227" cy="153888"/>
          </a:xfrm>
        </p:spPr>
        <p:txBody>
          <a:bodyPr vert="horz" lIns="0" tIns="0" rIns="0" bIns="0" rtlCol="0" anchor="b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/>
              <a:t>Образец текста</a:t>
            </a:r>
          </a:p>
        </p:txBody>
      </p:sp>
      <p:sp>
        <p:nvSpPr>
          <p:cNvPr id="17" name="Текст 35">
            <a:extLst>
              <a:ext uri="{FF2B5EF4-FFF2-40B4-BE49-F238E27FC236}">
                <a16:creationId xmlns:a16="http://schemas.microsoft.com/office/drawing/2014/main" id="{9B125BDF-8748-73E8-B4C7-AC4CD646C9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99992" y="3946175"/>
            <a:ext cx="1957227" cy="153888"/>
          </a:xfrm>
        </p:spPr>
        <p:txBody>
          <a:bodyPr vert="horz" lIns="0" tIns="0" rIns="0" bIns="0" rtlCol="0" anchor="b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/>
              <a:t>Образец текста</a:t>
            </a:r>
          </a:p>
        </p:txBody>
      </p:sp>
      <p:sp>
        <p:nvSpPr>
          <p:cNvPr id="18" name="Текст 35">
            <a:extLst>
              <a:ext uri="{FF2B5EF4-FFF2-40B4-BE49-F238E27FC236}">
                <a16:creationId xmlns:a16="http://schemas.microsoft.com/office/drawing/2014/main" id="{B48A7253-D681-BFB5-5A5A-E75A6D483EB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876256" y="3946175"/>
            <a:ext cx="1957227" cy="153888"/>
          </a:xfrm>
        </p:spPr>
        <p:txBody>
          <a:bodyPr vert="horz" lIns="0" tIns="0" rIns="0" bIns="0" rtlCol="0" anchor="b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/>
              <a:t>Образец текста</a:t>
            </a:r>
          </a:p>
        </p:txBody>
      </p:sp>
      <p:sp>
        <p:nvSpPr>
          <p:cNvPr id="22" name="Текст 35">
            <a:extLst>
              <a:ext uri="{FF2B5EF4-FFF2-40B4-BE49-F238E27FC236}">
                <a16:creationId xmlns:a16="http://schemas.microsoft.com/office/drawing/2014/main" id="{7DE59B80-08F1-EA41-6F61-35B31D3069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8440" y="3193021"/>
            <a:ext cx="874459" cy="184666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1200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ХХХХ</a:t>
            </a:r>
          </a:p>
        </p:txBody>
      </p:sp>
      <p:sp>
        <p:nvSpPr>
          <p:cNvPr id="23" name="Текст 35">
            <a:extLst>
              <a:ext uri="{FF2B5EF4-FFF2-40B4-BE49-F238E27FC236}">
                <a16:creationId xmlns:a16="http://schemas.microsoft.com/office/drawing/2014/main" id="{AB69444F-363C-B8AD-484A-B2D3DC7C142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23928" y="2832981"/>
            <a:ext cx="874459" cy="184666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1200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ХХХХ</a:t>
            </a:r>
          </a:p>
        </p:txBody>
      </p:sp>
      <p:sp>
        <p:nvSpPr>
          <p:cNvPr id="24" name="Текст 35">
            <a:extLst>
              <a:ext uri="{FF2B5EF4-FFF2-40B4-BE49-F238E27FC236}">
                <a16:creationId xmlns:a16="http://schemas.microsoft.com/office/drawing/2014/main" id="{D571F3FF-D875-3635-81C4-8D1F89BC1F2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96604" y="3193021"/>
            <a:ext cx="874459" cy="184666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1200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ХХХХ</a:t>
            </a:r>
          </a:p>
        </p:txBody>
      </p:sp>
      <p:sp>
        <p:nvSpPr>
          <p:cNvPr id="25" name="Текст 35">
            <a:extLst>
              <a:ext uri="{FF2B5EF4-FFF2-40B4-BE49-F238E27FC236}">
                <a16:creationId xmlns:a16="http://schemas.microsoft.com/office/drawing/2014/main" id="{43AD7883-A899-D8EE-1910-B339D070DFE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89828" y="2832981"/>
            <a:ext cx="874459" cy="184666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1200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ХХХХ</a:t>
            </a:r>
          </a:p>
        </p:txBody>
      </p:sp>
      <p:sp>
        <p:nvSpPr>
          <p:cNvPr id="26" name="Текст 35">
            <a:extLst>
              <a:ext uri="{FF2B5EF4-FFF2-40B4-BE49-F238E27FC236}">
                <a16:creationId xmlns:a16="http://schemas.microsoft.com/office/drawing/2014/main" id="{A35C9F78-4F87-21B1-AB4F-9E4BA206524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46570" y="3193021"/>
            <a:ext cx="874459" cy="184666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1200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ХХХХ</a:t>
            </a:r>
          </a:p>
        </p:txBody>
      </p:sp>
      <p:sp>
        <p:nvSpPr>
          <p:cNvPr id="27" name="Текст 35">
            <a:extLst>
              <a:ext uri="{FF2B5EF4-FFF2-40B4-BE49-F238E27FC236}">
                <a16:creationId xmlns:a16="http://schemas.microsoft.com/office/drawing/2014/main" id="{425278D2-B441-5E94-F34E-A93BAF6C28D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547754" y="2832981"/>
            <a:ext cx="874459" cy="184666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1200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ХХХХ</a:t>
            </a:r>
          </a:p>
        </p:txBody>
      </p:sp>
      <p:sp>
        <p:nvSpPr>
          <p:cNvPr id="28" name="Текст 35">
            <a:extLst>
              <a:ext uri="{FF2B5EF4-FFF2-40B4-BE49-F238E27FC236}">
                <a16:creationId xmlns:a16="http://schemas.microsoft.com/office/drawing/2014/main" id="{0E04471B-CBE1-D02D-DE60-FB4DBB5A248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275856" y="1635725"/>
            <a:ext cx="1957227" cy="153888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/>
              <a:t>Образец текста</a:t>
            </a:r>
          </a:p>
        </p:txBody>
      </p:sp>
      <p:sp>
        <p:nvSpPr>
          <p:cNvPr id="29" name="Текст 35">
            <a:extLst>
              <a:ext uri="{FF2B5EF4-FFF2-40B4-BE49-F238E27FC236}">
                <a16:creationId xmlns:a16="http://schemas.microsoft.com/office/drawing/2014/main" id="{62AD7BCE-8811-FABC-B2CF-143DFB6E365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652120" y="1635725"/>
            <a:ext cx="1957227" cy="153888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/>
              <a:t>Образец текста</a:t>
            </a:r>
          </a:p>
        </p:txBody>
      </p:sp>
      <p:sp>
        <p:nvSpPr>
          <p:cNvPr id="30" name="Текст 35">
            <a:extLst>
              <a:ext uri="{FF2B5EF4-FFF2-40B4-BE49-F238E27FC236}">
                <a16:creationId xmlns:a16="http://schemas.microsoft.com/office/drawing/2014/main" id="{CED4157B-528A-B0F1-8866-D4E9243F5AF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740352" y="1635725"/>
            <a:ext cx="1085149" cy="153888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/>
              <a:t>Образец текста</a:t>
            </a:r>
          </a:p>
        </p:txBody>
      </p:sp>
      <p:sp>
        <p:nvSpPr>
          <p:cNvPr id="31" name="Текст 35">
            <a:extLst>
              <a:ext uri="{FF2B5EF4-FFF2-40B4-BE49-F238E27FC236}">
                <a16:creationId xmlns:a16="http://schemas.microsoft.com/office/drawing/2014/main" id="{C0F0CE4D-A30D-EFF6-6687-A357DC1161C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740978" y="3193021"/>
            <a:ext cx="874459" cy="184666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1200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ХХХХ</a:t>
            </a:r>
          </a:p>
        </p:txBody>
      </p:sp>
    </p:spTree>
    <p:extLst>
      <p:ext uri="{BB962C8B-B14F-4D97-AF65-F5344CB8AC3E}">
        <p14:creationId xmlns:p14="http://schemas.microsoft.com/office/powerpoint/2010/main" val="2191753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7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8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в 2 строки для слайда с </a:t>
            </a:r>
            <a:r>
              <a:rPr lang="ru-RU" dirty="0" err="1">
                <a:effectLst/>
              </a:rPr>
              <a:t>хайлайтами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marL="0" algn="l" defTabSz="778986" rtl="0" eaLnBrk="1" latinLnBrk="0" hangingPunct="1">
              <a:defRPr lang="ru-RU" sz="1000" b="0" kern="1200" smtClean="0">
                <a:solidFill>
                  <a:srgbClr val="003D4C">
                    <a:alpha val="5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Rectangle: Rounded Corners 21">
            <a:extLst>
              <a:ext uri="{FF2B5EF4-FFF2-40B4-BE49-F238E27FC236}">
                <a16:creationId xmlns:a16="http://schemas.microsoft.com/office/drawing/2014/main" id="{0CC1EF00-CF91-3A41-665E-CC99915AD52D}"/>
              </a:ext>
            </a:extLst>
          </p:cNvPr>
          <p:cNvSpPr/>
          <p:nvPr userDrawn="1"/>
        </p:nvSpPr>
        <p:spPr>
          <a:xfrm>
            <a:off x="474447" y="2742422"/>
            <a:ext cx="8794670" cy="87259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tx2">
                  <a:lumMod val="90000"/>
                  <a:lumOff val="10000"/>
                </a:schemeClr>
              </a:gs>
              <a:gs pos="55008">
                <a:schemeClr val="accent1"/>
              </a:gs>
              <a:gs pos="99000">
                <a:schemeClr val="bg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50" dirty="0" err="1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5" name="Oval 15">
            <a:extLst>
              <a:ext uri="{FF2B5EF4-FFF2-40B4-BE49-F238E27FC236}">
                <a16:creationId xmlns:a16="http://schemas.microsoft.com/office/drawing/2014/main" id="{AED86DA5-EB54-57DD-C5F1-85D9C4981A65}"/>
              </a:ext>
            </a:extLst>
          </p:cNvPr>
          <p:cNvSpPr/>
          <p:nvPr userDrawn="1"/>
        </p:nvSpPr>
        <p:spPr>
          <a:xfrm>
            <a:off x="401281" y="2546468"/>
            <a:ext cx="436705" cy="436705"/>
          </a:xfrm>
          <a:prstGeom prst="ellipse">
            <a:avLst/>
          </a:prstGeom>
          <a:solidFill>
            <a:srgbClr val="FFFFFF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50" dirty="0" err="1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65AF4899-4A70-AE41-21F6-FBF5995F163A}"/>
              </a:ext>
            </a:extLst>
          </p:cNvPr>
          <p:cNvCxnSpPr>
            <a:cxnSpLocks/>
          </p:cNvCxnSpPr>
          <p:nvPr userDrawn="1"/>
        </p:nvCxnSpPr>
        <p:spPr>
          <a:xfrm flipV="1">
            <a:off x="1986081" y="3077562"/>
            <a:ext cx="0" cy="230832"/>
          </a:xfrm>
          <a:prstGeom prst="line">
            <a:avLst/>
          </a:prstGeom>
          <a:ln w="6350">
            <a:solidFill>
              <a:srgbClr val="B2B2B2"/>
            </a:solidFill>
            <a:prstDash val="solid"/>
          </a:ln>
        </p:spPr>
      </p:cxn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C1E88C75-E9E9-0579-F91B-E3B8DF58DE03}"/>
              </a:ext>
            </a:extLst>
          </p:cNvPr>
          <p:cNvCxnSpPr>
            <a:cxnSpLocks/>
          </p:cNvCxnSpPr>
          <p:nvPr userDrawn="1"/>
        </p:nvCxnSpPr>
        <p:spPr>
          <a:xfrm flipV="1">
            <a:off x="7404904" y="3077562"/>
            <a:ext cx="0" cy="230832"/>
          </a:xfrm>
          <a:prstGeom prst="line">
            <a:avLst/>
          </a:prstGeom>
          <a:ln w="6350">
            <a:solidFill>
              <a:srgbClr val="B2B2B2"/>
            </a:solidFill>
            <a:prstDash val="solid"/>
          </a:ln>
        </p:spPr>
      </p:cxn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B2C651D9-7543-FEEB-32A3-C493C0EDD843}"/>
              </a:ext>
            </a:extLst>
          </p:cNvPr>
          <p:cNvCxnSpPr>
            <a:cxnSpLocks/>
          </p:cNvCxnSpPr>
          <p:nvPr userDrawn="1"/>
        </p:nvCxnSpPr>
        <p:spPr>
          <a:xfrm flipV="1">
            <a:off x="3342401" y="3107139"/>
            <a:ext cx="0" cy="1460731"/>
          </a:xfrm>
          <a:prstGeom prst="line">
            <a:avLst/>
          </a:prstGeom>
          <a:ln w="6350">
            <a:solidFill>
              <a:srgbClr val="B2B2B2"/>
            </a:solidFill>
            <a:prstDash val="solid"/>
          </a:ln>
        </p:spPr>
      </p:cxn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B9A83D57-C6E9-98CC-0026-B24EB2E8C736}"/>
              </a:ext>
            </a:extLst>
          </p:cNvPr>
          <p:cNvCxnSpPr>
            <a:cxnSpLocks/>
          </p:cNvCxnSpPr>
          <p:nvPr userDrawn="1"/>
        </p:nvCxnSpPr>
        <p:spPr>
          <a:xfrm flipV="1">
            <a:off x="633837" y="3077562"/>
            <a:ext cx="0" cy="1460731"/>
          </a:xfrm>
          <a:prstGeom prst="line">
            <a:avLst/>
          </a:prstGeom>
          <a:ln w="6350">
            <a:solidFill>
              <a:srgbClr val="B2B2B2"/>
            </a:solidFill>
            <a:prstDash val="solid"/>
          </a:ln>
        </p:spPr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5E2A5C9A-2079-49C7-DE6F-CA0523FE4FFA}"/>
              </a:ext>
            </a:extLst>
          </p:cNvPr>
          <p:cNvCxnSpPr>
            <a:cxnSpLocks/>
          </p:cNvCxnSpPr>
          <p:nvPr userDrawn="1"/>
        </p:nvCxnSpPr>
        <p:spPr>
          <a:xfrm flipV="1">
            <a:off x="6042645" y="3065175"/>
            <a:ext cx="0" cy="1460731"/>
          </a:xfrm>
          <a:prstGeom prst="line">
            <a:avLst/>
          </a:prstGeom>
          <a:ln w="6350">
            <a:solidFill>
              <a:srgbClr val="B2B2B2"/>
            </a:solidFill>
            <a:prstDash val="solid"/>
          </a:ln>
        </p:spPr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B864AFC9-0B53-6B17-FA17-8E9D41B98571}"/>
              </a:ext>
            </a:extLst>
          </p:cNvPr>
          <p:cNvCxnSpPr>
            <a:cxnSpLocks/>
          </p:cNvCxnSpPr>
          <p:nvPr userDrawn="1"/>
        </p:nvCxnSpPr>
        <p:spPr>
          <a:xfrm flipV="1">
            <a:off x="4689907" y="1199535"/>
            <a:ext cx="0" cy="1291929"/>
          </a:xfrm>
          <a:prstGeom prst="line">
            <a:avLst/>
          </a:prstGeom>
          <a:ln w="6350">
            <a:solidFill>
              <a:srgbClr val="B2B2B2"/>
            </a:solidFill>
            <a:prstDash val="solid"/>
          </a:ln>
        </p:spPr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2C01702C-4A66-A57F-B153-E70F81BE0516}"/>
              </a:ext>
            </a:extLst>
          </p:cNvPr>
          <p:cNvCxnSpPr>
            <a:cxnSpLocks/>
          </p:cNvCxnSpPr>
          <p:nvPr userDrawn="1"/>
        </p:nvCxnSpPr>
        <p:spPr>
          <a:xfrm flipV="1">
            <a:off x="7402589" y="1238865"/>
            <a:ext cx="0" cy="1215392"/>
          </a:xfrm>
          <a:prstGeom prst="line">
            <a:avLst/>
          </a:prstGeom>
          <a:ln w="6350">
            <a:solidFill>
              <a:srgbClr val="B2B2B2"/>
            </a:solidFill>
            <a:prstDash val="solid"/>
          </a:ln>
        </p:spPr>
      </p:cxnSp>
      <p:sp>
        <p:nvSpPr>
          <p:cNvPr id="19" name="Oval 15">
            <a:extLst>
              <a:ext uri="{FF2B5EF4-FFF2-40B4-BE49-F238E27FC236}">
                <a16:creationId xmlns:a16="http://schemas.microsoft.com/office/drawing/2014/main" id="{9B7DEB5B-0C89-B6C4-1198-3AF3D7DC586A}"/>
              </a:ext>
            </a:extLst>
          </p:cNvPr>
          <p:cNvSpPr/>
          <p:nvPr userDrawn="1"/>
        </p:nvSpPr>
        <p:spPr>
          <a:xfrm>
            <a:off x="1767729" y="2546468"/>
            <a:ext cx="436705" cy="436705"/>
          </a:xfrm>
          <a:prstGeom prst="ellipse">
            <a:avLst/>
          </a:prstGeom>
          <a:solidFill>
            <a:srgbClr val="FFFFFF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50" dirty="0" err="1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20" name="Oval 15">
            <a:extLst>
              <a:ext uri="{FF2B5EF4-FFF2-40B4-BE49-F238E27FC236}">
                <a16:creationId xmlns:a16="http://schemas.microsoft.com/office/drawing/2014/main" id="{F742B0D4-BCD0-FA48-B7C9-EF4FADD64212}"/>
              </a:ext>
            </a:extLst>
          </p:cNvPr>
          <p:cNvSpPr/>
          <p:nvPr userDrawn="1"/>
        </p:nvSpPr>
        <p:spPr>
          <a:xfrm>
            <a:off x="3111605" y="2546468"/>
            <a:ext cx="436705" cy="436705"/>
          </a:xfrm>
          <a:prstGeom prst="ellipse">
            <a:avLst/>
          </a:prstGeom>
          <a:solidFill>
            <a:srgbClr val="FFFFFF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50" dirty="0" err="1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21" name="Oval 15">
            <a:extLst>
              <a:ext uri="{FF2B5EF4-FFF2-40B4-BE49-F238E27FC236}">
                <a16:creationId xmlns:a16="http://schemas.microsoft.com/office/drawing/2014/main" id="{50225213-7867-E232-14EE-BD7B5C05A09A}"/>
              </a:ext>
            </a:extLst>
          </p:cNvPr>
          <p:cNvSpPr/>
          <p:nvPr userDrawn="1"/>
        </p:nvSpPr>
        <p:spPr>
          <a:xfrm>
            <a:off x="4473373" y="2546468"/>
            <a:ext cx="436705" cy="436705"/>
          </a:xfrm>
          <a:prstGeom prst="ellipse">
            <a:avLst/>
          </a:prstGeom>
          <a:solidFill>
            <a:srgbClr val="FFFFFF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50" dirty="0" err="1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22" name="Oval 15">
            <a:extLst>
              <a:ext uri="{FF2B5EF4-FFF2-40B4-BE49-F238E27FC236}">
                <a16:creationId xmlns:a16="http://schemas.microsoft.com/office/drawing/2014/main" id="{A6A4F8CC-3707-25C6-6094-B06BD5571AF7}"/>
              </a:ext>
            </a:extLst>
          </p:cNvPr>
          <p:cNvSpPr/>
          <p:nvPr userDrawn="1"/>
        </p:nvSpPr>
        <p:spPr>
          <a:xfrm>
            <a:off x="5828245" y="2546468"/>
            <a:ext cx="436705" cy="436705"/>
          </a:xfrm>
          <a:prstGeom prst="ellipse">
            <a:avLst/>
          </a:prstGeom>
          <a:solidFill>
            <a:srgbClr val="FFFFFF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50" dirty="0" err="1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23" name="Oval 19">
            <a:extLst>
              <a:ext uri="{FF2B5EF4-FFF2-40B4-BE49-F238E27FC236}">
                <a16:creationId xmlns:a16="http://schemas.microsoft.com/office/drawing/2014/main" id="{370000FC-6508-6024-A25E-0A9C44CA1995}"/>
              </a:ext>
            </a:extLst>
          </p:cNvPr>
          <p:cNvSpPr/>
          <p:nvPr userDrawn="1"/>
        </p:nvSpPr>
        <p:spPr>
          <a:xfrm>
            <a:off x="5953569" y="2671792"/>
            <a:ext cx="186056" cy="18605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50" dirty="0" err="1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24" name="Oval 15">
            <a:extLst>
              <a:ext uri="{FF2B5EF4-FFF2-40B4-BE49-F238E27FC236}">
                <a16:creationId xmlns:a16="http://schemas.microsoft.com/office/drawing/2014/main" id="{70F61729-A19E-A50C-043C-732C92B2507E}"/>
              </a:ext>
            </a:extLst>
          </p:cNvPr>
          <p:cNvSpPr/>
          <p:nvPr userDrawn="1"/>
        </p:nvSpPr>
        <p:spPr>
          <a:xfrm>
            <a:off x="7186565" y="2546468"/>
            <a:ext cx="436705" cy="436705"/>
          </a:xfrm>
          <a:prstGeom prst="ellipse">
            <a:avLst/>
          </a:prstGeom>
          <a:solidFill>
            <a:srgbClr val="FFFFFF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50" dirty="0" err="1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25" name="Oval 19">
            <a:extLst>
              <a:ext uri="{FF2B5EF4-FFF2-40B4-BE49-F238E27FC236}">
                <a16:creationId xmlns:a16="http://schemas.microsoft.com/office/drawing/2014/main" id="{CAE0B343-E2B2-5CA5-37F9-AB2678DEB5EC}"/>
              </a:ext>
            </a:extLst>
          </p:cNvPr>
          <p:cNvSpPr/>
          <p:nvPr userDrawn="1"/>
        </p:nvSpPr>
        <p:spPr>
          <a:xfrm>
            <a:off x="7311889" y="2671792"/>
            <a:ext cx="186056" cy="18605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50" dirty="0" err="1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33" name="Oval 19">
            <a:extLst>
              <a:ext uri="{FF2B5EF4-FFF2-40B4-BE49-F238E27FC236}">
                <a16:creationId xmlns:a16="http://schemas.microsoft.com/office/drawing/2014/main" id="{8125DBE0-6472-5229-B010-F3F3D190AA10}"/>
              </a:ext>
            </a:extLst>
          </p:cNvPr>
          <p:cNvSpPr/>
          <p:nvPr userDrawn="1"/>
        </p:nvSpPr>
        <p:spPr>
          <a:xfrm>
            <a:off x="526605" y="2671792"/>
            <a:ext cx="186056" cy="18605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50" dirty="0" err="1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34" name="Oval 19">
            <a:extLst>
              <a:ext uri="{FF2B5EF4-FFF2-40B4-BE49-F238E27FC236}">
                <a16:creationId xmlns:a16="http://schemas.microsoft.com/office/drawing/2014/main" id="{0BA028FE-01AE-68E8-753A-4D3442A84F51}"/>
              </a:ext>
            </a:extLst>
          </p:cNvPr>
          <p:cNvSpPr/>
          <p:nvPr userDrawn="1"/>
        </p:nvSpPr>
        <p:spPr>
          <a:xfrm>
            <a:off x="1893053" y="2671792"/>
            <a:ext cx="186056" cy="18605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50" dirty="0" err="1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35" name="Oval 19">
            <a:extLst>
              <a:ext uri="{FF2B5EF4-FFF2-40B4-BE49-F238E27FC236}">
                <a16:creationId xmlns:a16="http://schemas.microsoft.com/office/drawing/2014/main" id="{3831995C-1827-AB5D-CDE2-13B40C275C3A}"/>
              </a:ext>
            </a:extLst>
          </p:cNvPr>
          <p:cNvSpPr/>
          <p:nvPr userDrawn="1"/>
        </p:nvSpPr>
        <p:spPr>
          <a:xfrm>
            <a:off x="3236929" y="2671792"/>
            <a:ext cx="186056" cy="18605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50" dirty="0" err="1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36" name="Oval 19">
            <a:extLst>
              <a:ext uri="{FF2B5EF4-FFF2-40B4-BE49-F238E27FC236}">
                <a16:creationId xmlns:a16="http://schemas.microsoft.com/office/drawing/2014/main" id="{51F003E9-0C50-A62C-49BB-DE5092CFC076}"/>
              </a:ext>
            </a:extLst>
          </p:cNvPr>
          <p:cNvSpPr/>
          <p:nvPr userDrawn="1"/>
        </p:nvSpPr>
        <p:spPr>
          <a:xfrm>
            <a:off x="4598697" y="2671792"/>
            <a:ext cx="186056" cy="18605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50" dirty="0" err="1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37" name="Текст 35">
            <a:extLst>
              <a:ext uri="{FF2B5EF4-FFF2-40B4-BE49-F238E27FC236}">
                <a16:creationId xmlns:a16="http://schemas.microsoft.com/office/drawing/2014/main" id="{0D721A3C-5D9B-08A7-00B0-A92B2D64734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2956" y="2160926"/>
            <a:ext cx="874459" cy="273729"/>
          </a:xfrm>
        </p:spPr>
        <p:txBody>
          <a:bodyPr anchor="ctr">
            <a:spAutoFit/>
          </a:bodyPr>
          <a:lstStyle>
            <a:lvl1pPr algn="ctr">
              <a:defRPr sz="18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ХХХХ</a:t>
            </a:r>
          </a:p>
        </p:txBody>
      </p:sp>
      <p:sp>
        <p:nvSpPr>
          <p:cNvPr id="38" name="Текст 35">
            <a:extLst>
              <a:ext uri="{FF2B5EF4-FFF2-40B4-BE49-F238E27FC236}">
                <a16:creationId xmlns:a16="http://schemas.microsoft.com/office/drawing/2014/main" id="{799D8846-FB10-D837-D593-F96042502EF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27116" y="3374698"/>
            <a:ext cx="874459" cy="273729"/>
          </a:xfrm>
        </p:spPr>
        <p:txBody>
          <a:bodyPr anchor="ctr">
            <a:spAutoFit/>
          </a:bodyPr>
          <a:lstStyle>
            <a:lvl1pPr algn="ctr">
              <a:defRPr sz="18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ХХХХ</a:t>
            </a:r>
          </a:p>
        </p:txBody>
      </p:sp>
      <p:sp>
        <p:nvSpPr>
          <p:cNvPr id="39" name="Текст 35">
            <a:extLst>
              <a:ext uri="{FF2B5EF4-FFF2-40B4-BE49-F238E27FC236}">
                <a16:creationId xmlns:a16="http://schemas.microsoft.com/office/drawing/2014/main" id="{C9EBC848-6016-D1A3-BBD9-2517D4E5349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843808" y="2160926"/>
            <a:ext cx="874459" cy="273729"/>
          </a:xfrm>
        </p:spPr>
        <p:txBody>
          <a:bodyPr anchor="ctr">
            <a:spAutoFit/>
          </a:bodyPr>
          <a:lstStyle>
            <a:lvl1pPr algn="ctr">
              <a:defRPr sz="18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ХХХХ</a:t>
            </a:r>
          </a:p>
        </p:txBody>
      </p:sp>
      <p:sp>
        <p:nvSpPr>
          <p:cNvPr id="40" name="Текст 35">
            <a:extLst>
              <a:ext uri="{FF2B5EF4-FFF2-40B4-BE49-F238E27FC236}">
                <a16:creationId xmlns:a16="http://schemas.microsoft.com/office/drawing/2014/main" id="{4BEBAF08-18CD-A0B0-AD99-4C971C176B3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83968" y="3374698"/>
            <a:ext cx="874459" cy="273729"/>
          </a:xfrm>
        </p:spPr>
        <p:txBody>
          <a:bodyPr anchor="ctr">
            <a:spAutoFit/>
          </a:bodyPr>
          <a:lstStyle>
            <a:lvl1pPr algn="ctr">
              <a:defRPr sz="18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ХХХХ</a:t>
            </a:r>
          </a:p>
        </p:txBody>
      </p:sp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id="{3A58F426-B4E2-A9FB-A9EA-CD11BF6D4982}"/>
              </a:ext>
            </a:extLst>
          </p:cNvPr>
          <p:cNvCxnSpPr>
            <a:cxnSpLocks/>
          </p:cNvCxnSpPr>
          <p:nvPr userDrawn="1"/>
        </p:nvCxnSpPr>
        <p:spPr>
          <a:xfrm flipV="1">
            <a:off x="4716016" y="3075806"/>
            <a:ext cx="0" cy="230832"/>
          </a:xfrm>
          <a:prstGeom prst="line">
            <a:avLst/>
          </a:prstGeom>
          <a:ln w="6350">
            <a:solidFill>
              <a:srgbClr val="B2B2B2"/>
            </a:solidFill>
            <a:prstDash val="solid"/>
          </a:ln>
        </p:spPr>
      </p:cxnSp>
      <p:sp>
        <p:nvSpPr>
          <p:cNvPr id="42" name="Текст 35">
            <a:extLst>
              <a:ext uri="{FF2B5EF4-FFF2-40B4-BE49-F238E27FC236}">
                <a16:creationId xmlns:a16="http://schemas.microsoft.com/office/drawing/2014/main" id="{6C0BA143-D450-832A-0FF9-EFB4B25FD1D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8812" y="3374698"/>
            <a:ext cx="874459" cy="273729"/>
          </a:xfrm>
        </p:spPr>
        <p:txBody>
          <a:bodyPr anchor="ctr">
            <a:spAutoFit/>
          </a:bodyPr>
          <a:lstStyle>
            <a:lvl1pPr algn="ctr">
              <a:defRPr sz="18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ХХХХ</a:t>
            </a:r>
          </a:p>
        </p:txBody>
      </p:sp>
      <p:sp>
        <p:nvSpPr>
          <p:cNvPr id="43" name="Текст 35">
            <a:extLst>
              <a:ext uri="{FF2B5EF4-FFF2-40B4-BE49-F238E27FC236}">
                <a16:creationId xmlns:a16="http://schemas.microsoft.com/office/drawing/2014/main" id="{C177201D-C57F-AEE6-6C46-EB30E48143E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580112" y="2160926"/>
            <a:ext cx="874459" cy="273729"/>
          </a:xfrm>
        </p:spPr>
        <p:txBody>
          <a:bodyPr anchor="ctr">
            <a:spAutoFit/>
          </a:bodyPr>
          <a:lstStyle>
            <a:lvl1pPr algn="ctr">
              <a:defRPr sz="18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ХХХХ</a:t>
            </a:r>
          </a:p>
        </p:txBody>
      </p:sp>
      <p:sp>
        <p:nvSpPr>
          <p:cNvPr id="44" name="Текст 35">
            <a:extLst>
              <a:ext uri="{FF2B5EF4-FFF2-40B4-BE49-F238E27FC236}">
                <a16:creationId xmlns:a16="http://schemas.microsoft.com/office/drawing/2014/main" id="{77F90186-9FBD-577B-B493-3951B398C90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070240" y="1193937"/>
            <a:ext cx="2433600" cy="153888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/>
              <a:t>Образец текста</a:t>
            </a:r>
          </a:p>
        </p:txBody>
      </p:sp>
      <p:sp>
        <p:nvSpPr>
          <p:cNvPr id="46" name="Текст 35">
            <a:extLst>
              <a:ext uri="{FF2B5EF4-FFF2-40B4-BE49-F238E27FC236}">
                <a16:creationId xmlns:a16="http://schemas.microsoft.com/office/drawing/2014/main" id="{471E94C1-1D77-DE23-32DF-6BC418DB1AA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480920" y="1193937"/>
            <a:ext cx="1467871" cy="153888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/>
              <a:t>Образец текста</a:t>
            </a:r>
          </a:p>
        </p:txBody>
      </p:sp>
      <p:sp>
        <p:nvSpPr>
          <p:cNvPr id="47" name="Текст 35">
            <a:extLst>
              <a:ext uri="{FF2B5EF4-FFF2-40B4-BE49-F238E27FC236}">
                <a16:creationId xmlns:a16="http://schemas.microsoft.com/office/drawing/2014/main" id="{0619DEA2-E030-4333-88FB-CB52B28164D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14480" y="4380371"/>
            <a:ext cx="1957227" cy="153888"/>
          </a:xfrm>
        </p:spPr>
        <p:txBody>
          <a:bodyPr vert="horz" lIns="0" tIns="0" rIns="0" bIns="0" rtlCol="0" anchor="b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/>
              <a:t>Образец текста</a:t>
            </a:r>
          </a:p>
        </p:txBody>
      </p:sp>
      <p:sp>
        <p:nvSpPr>
          <p:cNvPr id="48" name="Текст 35">
            <a:extLst>
              <a:ext uri="{FF2B5EF4-FFF2-40B4-BE49-F238E27FC236}">
                <a16:creationId xmlns:a16="http://schemas.microsoft.com/office/drawing/2014/main" id="{3EF22967-0E17-BD8F-AA00-044D1CA220B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450943" y="4400930"/>
            <a:ext cx="1957227" cy="153888"/>
          </a:xfrm>
        </p:spPr>
        <p:txBody>
          <a:bodyPr vert="horz" lIns="0" tIns="0" rIns="0" bIns="0" rtlCol="0" anchor="b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/>
              <a:t>Образец текста</a:t>
            </a:r>
          </a:p>
        </p:txBody>
      </p:sp>
      <p:sp>
        <p:nvSpPr>
          <p:cNvPr id="49" name="Текст 35">
            <a:extLst>
              <a:ext uri="{FF2B5EF4-FFF2-40B4-BE49-F238E27FC236}">
                <a16:creationId xmlns:a16="http://schemas.microsoft.com/office/drawing/2014/main" id="{CED2191E-CA37-3E62-403D-1BA0F913D06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135431" y="4400930"/>
            <a:ext cx="2833907" cy="153888"/>
          </a:xfrm>
        </p:spPr>
        <p:txBody>
          <a:bodyPr vert="horz" lIns="0" tIns="0" rIns="0" bIns="0" rtlCol="0" anchor="b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/>
              <a:t>Образец текста</a:t>
            </a:r>
          </a:p>
        </p:txBody>
      </p:sp>
      <p:cxnSp>
        <p:nvCxnSpPr>
          <p:cNvPr id="52" name="Прямая соединительная линия 51">
            <a:extLst>
              <a:ext uri="{FF2B5EF4-FFF2-40B4-BE49-F238E27FC236}">
                <a16:creationId xmlns:a16="http://schemas.microsoft.com/office/drawing/2014/main" id="{4E5F5534-0D51-2C7F-6CD9-E3E222170EF7}"/>
              </a:ext>
            </a:extLst>
          </p:cNvPr>
          <p:cNvCxnSpPr>
            <a:cxnSpLocks/>
          </p:cNvCxnSpPr>
          <p:nvPr userDrawn="1"/>
        </p:nvCxnSpPr>
        <p:spPr>
          <a:xfrm flipV="1">
            <a:off x="1986081" y="1152138"/>
            <a:ext cx="0" cy="1291929"/>
          </a:xfrm>
          <a:prstGeom prst="line">
            <a:avLst/>
          </a:prstGeom>
          <a:ln w="6350">
            <a:solidFill>
              <a:srgbClr val="B2B2B2"/>
            </a:solidFill>
            <a:prstDash val="solid"/>
          </a:ln>
        </p:spPr>
      </p:cxnSp>
      <p:sp>
        <p:nvSpPr>
          <p:cNvPr id="53" name="Текст 35">
            <a:extLst>
              <a:ext uri="{FF2B5EF4-FFF2-40B4-BE49-F238E27FC236}">
                <a16:creationId xmlns:a16="http://schemas.microsoft.com/office/drawing/2014/main" id="{C74F51A2-94F2-A86A-64A0-A64932749AD1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788024" y="1193937"/>
            <a:ext cx="2433600" cy="153888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663700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8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0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в 2 строки для слайда с </a:t>
            </a:r>
            <a:r>
              <a:rPr lang="ru-RU" dirty="0" err="1">
                <a:effectLst/>
              </a:rPr>
              <a:t>хайлайтами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marL="0" algn="l" defTabSz="778986" rtl="0" eaLnBrk="1" latinLnBrk="0" hangingPunct="1">
              <a:defRPr lang="ru-RU" sz="1000" b="0" kern="1200" smtClean="0">
                <a:solidFill>
                  <a:srgbClr val="003D4C">
                    <a:alpha val="5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Rectangle: Rounded Corners 21">
            <a:extLst>
              <a:ext uri="{FF2B5EF4-FFF2-40B4-BE49-F238E27FC236}">
                <a16:creationId xmlns:a16="http://schemas.microsoft.com/office/drawing/2014/main" id="{0CC1EF00-CF91-3A41-665E-CC99915AD52D}"/>
              </a:ext>
            </a:extLst>
          </p:cNvPr>
          <p:cNvSpPr/>
          <p:nvPr userDrawn="1"/>
        </p:nvSpPr>
        <p:spPr>
          <a:xfrm>
            <a:off x="474447" y="2742422"/>
            <a:ext cx="8794670" cy="87259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tx2">
                  <a:lumMod val="90000"/>
                  <a:lumOff val="10000"/>
                </a:schemeClr>
              </a:gs>
              <a:gs pos="55008">
                <a:schemeClr val="accent1"/>
              </a:gs>
              <a:gs pos="99000">
                <a:schemeClr val="bg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50" dirty="0" err="1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B2C651D9-7543-FEEB-32A3-C493C0EDD843}"/>
              </a:ext>
            </a:extLst>
          </p:cNvPr>
          <p:cNvCxnSpPr>
            <a:cxnSpLocks/>
          </p:cNvCxnSpPr>
          <p:nvPr userDrawn="1"/>
        </p:nvCxnSpPr>
        <p:spPr>
          <a:xfrm flipV="1">
            <a:off x="3342401" y="3083837"/>
            <a:ext cx="0" cy="1460731"/>
          </a:xfrm>
          <a:prstGeom prst="line">
            <a:avLst/>
          </a:prstGeom>
          <a:ln w="6350">
            <a:solidFill>
              <a:srgbClr val="B2B2B2"/>
            </a:solidFill>
            <a:prstDash val="solid"/>
          </a:ln>
        </p:spPr>
      </p:cxn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B9A83D57-C6E9-98CC-0026-B24EB2E8C736}"/>
              </a:ext>
            </a:extLst>
          </p:cNvPr>
          <p:cNvCxnSpPr>
            <a:cxnSpLocks/>
          </p:cNvCxnSpPr>
          <p:nvPr userDrawn="1"/>
        </p:nvCxnSpPr>
        <p:spPr>
          <a:xfrm flipV="1">
            <a:off x="633837" y="3083837"/>
            <a:ext cx="0" cy="1460731"/>
          </a:xfrm>
          <a:prstGeom prst="line">
            <a:avLst/>
          </a:prstGeom>
          <a:ln w="6350">
            <a:solidFill>
              <a:srgbClr val="B2B2B2"/>
            </a:solidFill>
            <a:prstDash val="solid"/>
          </a:ln>
        </p:spPr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5E2A5C9A-2079-49C7-DE6F-CA0523FE4FFA}"/>
              </a:ext>
            </a:extLst>
          </p:cNvPr>
          <p:cNvCxnSpPr>
            <a:cxnSpLocks/>
          </p:cNvCxnSpPr>
          <p:nvPr userDrawn="1"/>
        </p:nvCxnSpPr>
        <p:spPr>
          <a:xfrm flipV="1">
            <a:off x="6042645" y="3083837"/>
            <a:ext cx="0" cy="1460731"/>
          </a:xfrm>
          <a:prstGeom prst="line">
            <a:avLst/>
          </a:prstGeom>
          <a:ln w="6350">
            <a:solidFill>
              <a:srgbClr val="B2B2B2"/>
            </a:solidFill>
            <a:prstDash val="solid"/>
          </a:ln>
        </p:spPr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B864AFC9-0B53-6B17-FA17-8E9D41B98571}"/>
              </a:ext>
            </a:extLst>
          </p:cNvPr>
          <p:cNvCxnSpPr>
            <a:cxnSpLocks/>
          </p:cNvCxnSpPr>
          <p:nvPr userDrawn="1"/>
        </p:nvCxnSpPr>
        <p:spPr>
          <a:xfrm flipV="1">
            <a:off x="4689907" y="1142807"/>
            <a:ext cx="0" cy="1291929"/>
          </a:xfrm>
          <a:prstGeom prst="line">
            <a:avLst/>
          </a:prstGeom>
          <a:ln w="6350">
            <a:solidFill>
              <a:srgbClr val="B2B2B2"/>
            </a:solidFill>
            <a:prstDash val="solid"/>
          </a:ln>
        </p:spPr>
      </p:cxnSp>
      <p:sp>
        <p:nvSpPr>
          <p:cNvPr id="44" name="Текст 35">
            <a:extLst>
              <a:ext uri="{FF2B5EF4-FFF2-40B4-BE49-F238E27FC236}">
                <a16:creationId xmlns:a16="http://schemas.microsoft.com/office/drawing/2014/main" id="{77F90186-9FBD-577B-B493-3951B398C90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070240" y="1193937"/>
            <a:ext cx="2433600" cy="153888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/>
              <a:t>Образец текста</a:t>
            </a:r>
          </a:p>
        </p:txBody>
      </p:sp>
      <p:sp>
        <p:nvSpPr>
          <p:cNvPr id="46" name="Текст 35">
            <a:extLst>
              <a:ext uri="{FF2B5EF4-FFF2-40B4-BE49-F238E27FC236}">
                <a16:creationId xmlns:a16="http://schemas.microsoft.com/office/drawing/2014/main" id="{471E94C1-1D77-DE23-32DF-6BC418DB1AA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480920" y="1193937"/>
            <a:ext cx="1467871" cy="153888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/>
              <a:t>Образец текста</a:t>
            </a:r>
          </a:p>
        </p:txBody>
      </p:sp>
      <p:sp>
        <p:nvSpPr>
          <p:cNvPr id="47" name="Текст 35">
            <a:extLst>
              <a:ext uri="{FF2B5EF4-FFF2-40B4-BE49-F238E27FC236}">
                <a16:creationId xmlns:a16="http://schemas.microsoft.com/office/drawing/2014/main" id="{0619DEA2-E030-4333-88FB-CB52B28164D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14480" y="4403816"/>
            <a:ext cx="1957227" cy="153888"/>
          </a:xfrm>
        </p:spPr>
        <p:txBody>
          <a:bodyPr vert="horz" lIns="0" tIns="0" rIns="0" bIns="0" rtlCol="0" anchor="b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/>
              <a:t>Образец текста</a:t>
            </a:r>
          </a:p>
        </p:txBody>
      </p:sp>
      <p:sp>
        <p:nvSpPr>
          <p:cNvPr id="48" name="Текст 35">
            <a:extLst>
              <a:ext uri="{FF2B5EF4-FFF2-40B4-BE49-F238E27FC236}">
                <a16:creationId xmlns:a16="http://schemas.microsoft.com/office/drawing/2014/main" id="{3EF22967-0E17-BD8F-AA00-044D1CA220B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450943" y="4424375"/>
            <a:ext cx="1957227" cy="153888"/>
          </a:xfrm>
        </p:spPr>
        <p:txBody>
          <a:bodyPr vert="horz" lIns="0" tIns="0" rIns="0" bIns="0" rtlCol="0" anchor="b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/>
              <a:t>Образец текста</a:t>
            </a:r>
          </a:p>
        </p:txBody>
      </p:sp>
      <p:sp>
        <p:nvSpPr>
          <p:cNvPr id="49" name="Текст 35">
            <a:extLst>
              <a:ext uri="{FF2B5EF4-FFF2-40B4-BE49-F238E27FC236}">
                <a16:creationId xmlns:a16="http://schemas.microsoft.com/office/drawing/2014/main" id="{CED2191E-CA37-3E62-403D-1BA0F913D06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135431" y="4424375"/>
            <a:ext cx="2833907" cy="153888"/>
          </a:xfrm>
        </p:spPr>
        <p:txBody>
          <a:bodyPr vert="horz" lIns="0" tIns="0" rIns="0" bIns="0" rtlCol="0" anchor="b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/>
              <a:t>Образец текста</a:t>
            </a:r>
          </a:p>
        </p:txBody>
      </p:sp>
      <p:cxnSp>
        <p:nvCxnSpPr>
          <p:cNvPr id="52" name="Прямая соединительная линия 51">
            <a:extLst>
              <a:ext uri="{FF2B5EF4-FFF2-40B4-BE49-F238E27FC236}">
                <a16:creationId xmlns:a16="http://schemas.microsoft.com/office/drawing/2014/main" id="{4E5F5534-0D51-2C7F-6CD9-E3E222170EF7}"/>
              </a:ext>
            </a:extLst>
          </p:cNvPr>
          <p:cNvCxnSpPr>
            <a:cxnSpLocks/>
          </p:cNvCxnSpPr>
          <p:nvPr userDrawn="1"/>
        </p:nvCxnSpPr>
        <p:spPr>
          <a:xfrm flipV="1">
            <a:off x="1986081" y="1142807"/>
            <a:ext cx="0" cy="1291929"/>
          </a:xfrm>
          <a:prstGeom prst="line">
            <a:avLst/>
          </a:prstGeom>
          <a:ln w="6350">
            <a:solidFill>
              <a:srgbClr val="B2B2B2"/>
            </a:solidFill>
            <a:prstDash val="solid"/>
          </a:ln>
        </p:spPr>
      </p:cxnSp>
      <p:sp>
        <p:nvSpPr>
          <p:cNvPr id="53" name="Текст 35">
            <a:extLst>
              <a:ext uri="{FF2B5EF4-FFF2-40B4-BE49-F238E27FC236}">
                <a16:creationId xmlns:a16="http://schemas.microsoft.com/office/drawing/2014/main" id="{C74F51A2-94F2-A86A-64A0-A64932749AD1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788024" y="1193937"/>
            <a:ext cx="2433600" cy="153888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/>
              <a:t>Образец текста</a:t>
            </a:r>
          </a:p>
        </p:txBody>
      </p:sp>
      <p:sp>
        <p:nvSpPr>
          <p:cNvPr id="13" name="Oval 15">
            <a:extLst>
              <a:ext uri="{FF2B5EF4-FFF2-40B4-BE49-F238E27FC236}">
                <a16:creationId xmlns:a16="http://schemas.microsoft.com/office/drawing/2014/main" id="{FADAE49A-3E68-2AE5-B3CA-AF239E50CB33}"/>
              </a:ext>
            </a:extLst>
          </p:cNvPr>
          <p:cNvSpPr/>
          <p:nvPr/>
        </p:nvSpPr>
        <p:spPr>
          <a:xfrm>
            <a:off x="1707878" y="2491699"/>
            <a:ext cx="563266" cy="563266"/>
          </a:xfrm>
          <a:prstGeom prst="ellipse">
            <a:avLst/>
          </a:prstGeom>
          <a:solidFill>
            <a:srgbClr val="FFFFFF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50" dirty="0" err="1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26" name="Oval 15">
            <a:extLst>
              <a:ext uri="{FF2B5EF4-FFF2-40B4-BE49-F238E27FC236}">
                <a16:creationId xmlns:a16="http://schemas.microsoft.com/office/drawing/2014/main" id="{2AE8A02B-BCE0-67D5-FB36-0B55EF0D3E00}"/>
              </a:ext>
            </a:extLst>
          </p:cNvPr>
          <p:cNvSpPr/>
          <p:nvPr/>
        </p:nvSpPr>
        <p:spPr>
          <a:xfrm>
            <a:off x="4414300" y="2491699"/>
            <a:ext cx="563266" cy="563266"/>
          </a:xfrm>
          <a:prstGeom prst="ellipse">
            <a:avLst/>
          </a:prstGeom>
          <a:solidFill>
            <a:srgbClr val="FFFFFF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50" dirty="0" err="1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29" name="Oval 15">
            <a:extLst>
              <a:ext uri="{FF2B5EF4-FFF2-40B4-BE49-F238E27FC236}">
                <a16:creationId xmlns:a16="http://schemas.microsoft.com/office/drawing/2014/main" id="{60B87DD6-D175-4C16-4239-A26325FF8851}"/>
              </a:ext>
            </a:extLst>
          </p:cNvPr>
          <p:cNvSpPr/>
          <p:nvPr/>
        </p:nvSpPr>
        <p:spPr>
          <a:xfrm rot="10800000">
            <a:off x="3061680" y="2491699"/>
            <a:ext cx="563266" cy="563266"/>
          </a:xfrm>
          <a:prstGeom prst="ellipse">
            <a:avLst/>
          </a:prstGeom>
          <a:solidFill>
            <a:srgbClr val="FFFFFF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50" dirty="0" err="1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32" name="Oval 15">
            <a:extLst>
              <a:ext uri="{FF2B5EF4-FFF2-40B4-BE49-F238E27FC236}">
                <a16:creationId xmlns:a16="http://schemas.microsoft.com/office/drawing/2014/main" id="{D5B266CB-A389-8050-B3B8-AC7C440E423F}"/>
              </a:ext>
            </a:extLst>
          </p:cNvPr>
          <p:cNvSpPr/>
          <p:nvPr/>
        </p:nvSpPr>
        <p:spPr>
          <a:xfrm rot="10800000">
            <a:off x="5763820" y="2491699"/>
            <a:ext cx="563266" cy="563266"/>
          </a:xfrm>
          <a:prstGeom prst="ellipse">
            <a:avLst/>
          </a:prstGeom>
          <a:solidFill>
            <a:srgbClr val="FFFFFF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50" dirty="0" err="1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51" name="Oval 15">
            <a:extLst>
              <a:ext uri="{FF2B5EF4-FFF2-40B4-BE49-F238E27FC236}">
                <a16:creationId xmlns:a16="http://schemas.microsoft.com/office/drawing/2014/main" id="{F7E16783-A95E-882D-3EF7-929A760E13B7}"/>
              </a:ext>
            </a:extLst>
          </p:cNvPr>
          <p:cNvSpPr/>
          <p:nvPr/>
        </p:nvSpPr>
        <p:spPr>
          <a:xfrm>
            <a:off x="7123945" y="2491699"/>
            <a:ext cx="563266" cy="563266"/>
          </a:xfrm>
          <a:prstGeom prst="ellipse">
            <a:avLst/>
          </a:prstGeom>
          <a:solidFill>
            <a:srgbClr val="FFFFFF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50" dirty="0" err="1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56" name="Oval 15">
            <a:extLst>
              <a:ext uri="{FF2B5EF4-FFF2-40B4-BE49-F238E27FC236}">
                <a16:creationId xmlns:a16="http://schemas.microsoft.com/office/drawing/2014/main" id="{DA8C4249-F5BF-7012-3AA2-FFA8EE40F02F}"/>
              </a:ext>
            </a:extLst>
          </p:cNvPr>
          <p:cNvSpPr/>
          <p:nvPr/>
        </p:nvSpPr>
        <p:spPr>
          <a:xfrm rot="10800000">
            <a:off x="365467" y="2491699"/>
            <a:ext cx="563266" cy="563266"/>
          </a:xfrm>
          <a:prstGeom prst="ellipse">
            <a:avLst/>
          </a:prstGeom>
          <a:solidFill>
            <a:srgbClr val="FFFFFF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50" dirty="0" err="1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cxnSp>
        <p:nvCxnSpPr>
          <p:cNvPr id="59" name="Прямая соединительная линия 58">
            <a:extLst>
              <a:ext uri="{FF2B5EF4-FFF2-40B4-BE49-F238E27FC236}">
                <a16:creationId xmlns:a16="http://schemas.microsoft.com/office/drawing/2014/main" id="{95679345-5B76-F6E4-14AA-A696DC63B3C5}"/>
              </a:ext>
            </a:extLst>
          </p:cNvPr>
          <p:cNvCxnSpPr>
            <a:cxnSpLocks/>
          </p:cNvCxnSpPr>
          <p:nvPr userDrawn="1"/>
        </p:nvCxnSpPr>
        <p:spPr>
          <a:xfrm flipV="1">
            <a:off x="7405115" y="1142807"/>
            <a:ext cx="0" cy="1291929"/>
          </a:xfrm>
          <a:prstGeom prst="line">
            <a:avLst/>
          </a:prstGeom>
          <a:ln w="6350">
            <a:solidFill>
              <a:srgbClr val="B2B2B2"/>
            </a:solidFill>
            <a:prstDash val="solid"/>
          </a:ln>
        </p:spPr>
      </p:cxnSp>
    </p:spTree>
    <p:extLst>
      <p:ext uri="{BB962C8B-B14F-4D97-AF65-F5344CB8AC3E}">
        <p14:creationId xmlns:p14="http://schemas.microsoft.com/office/powerpoint/2010/main" val="1871112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8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61BB26A4-959B-0254-0DD6-A6C54725D3C1}"/>
              </a:ext>
            </a:extLst>
          </p:cNvPr>
          <p:cNvSpPr/>
          <p:nvPr userDrawn="1"/>
        </p:nvSpPr>
        <p:spPr bwMode="auto">
          <a:xfrm>
            <a:off x="7452320" y="1881487"/>
            <a:ext cx="1382400" cy="2619237"/>
          </a:xfrm>
          <a:prstGeom prst="roundRect">
            <a:avLst>
              <a:gd name="adj" fmla="val 13264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4" name="Скругленный прямоугольник 13">
            <a:extLst>
              <a:ext uri="{FF2B5EF4-FFF2-40B4-BE49-F238E27FC236}">
                <a16:creationId xmlns:a16="http://schemas.microsoft.com/office/drawing/2014/main" id="{180AEBE0-4FBE-D837-B55E-9419E92EFC88}"/>
              </a:ext>
            </a:extLst>
          </p:cNvPr>
          <p:cNvSpPr/>
          <p:nvPr userDrawn="1"/>
        </p:nvSpPr>
        <p:spPr bwMode="auto">
          <a:xfrm>
            <a:off x="323850" y="1881487"/>
            <a:ext cx="1382400" cy="2619237"/>
          </a:xfrm>
          <a:prstGeom prst="roundRect">
            <a:avLst>
              <a:gd name="adj" fmla="val 13264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30" name="Скругленный прямоугольник 29">
            <a:extLst>
              <a:ext uri="{FF2B5EF4-FFF2-40B4-BE49-F238E27FC236}">
                <a16:creationId xmlns:a16="http://schemas.microsoft.com/office/drawing/2014/main" id="{998BC59D-A7CC-F68B-58C7-7A71E198060C}"/>
              </a:ext>
            </a:extLst>
          </p:cNvPr>
          <p:cNvSpPr/>
          <p:nvPr userDrawn="1"/>
        </p:nvSpPr>
        <p:spPr bwMode="auto">
          <a:xfrm>
            <a:off x="1749544" y="1881487"/>
            <a:ext cx="1382400" cy="2619237"/>
          </a:xfrm>
          <a:prstGeom prst="roundRect">
            <a:avLst>
              <a:gd name="adj" fmla="val 13264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37" name="Скругленный прямоугольник 36">
            <a:extLst>
              <a:ext uri="{FF2B5EF4-FFF2-40B4-BE49-F238E27FC236}">
                <a16:creationId xmlns:a16="http://schemas.microsoft.com/office/drawing/2014/main" id="{09C482E1-BD57-1FC7-17A1-363B8E00F392}"/>
              </a:ext>
            </a:extLst>
          </p:cNvPr>
          <p:cNvSpPr/>
          <p:nvPr userDrawn="1"/>
        </p:nvSpPr>
        <p:spPr bwMode="auto">
          <a:xfrm>
            <a:off x="3175238" y="1881487"/>
            <a:ext cx="1382400" cy="2619237"/>
          </a:xfrm>
          <a:prstGeom prst="roundRect">
            <a:avLst>
              <a:gd name="adj" fmla="val 13264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40" name="Скругленный прямоугольник 39">
            <a:extLst>
              <a:ext uri="{FF2B5EF4-FFF2-40B4-BE49-F238E27FC236}">
                <a16:creationId xmlns:a16="http://schemas.microsoft.com/office/drawing/2014/main" id="{C8AE63EE-A87A-714D-E84C-967D53463E44}"/>
              </a:ext>
            </a:extLst>
          </p:cNvPr>
          <p:cNvSpPr/>
          <p:nvPr userDrawn="1"/>
        </p:nvSpPr>
        <p:spPr bwMode="auto">
          <a:xfrm>
            <a:off x="4600932" y="1881487"/>
            <a:ext cx="1382400" cy="2619237"/>
          </a:xfrm>
          <a:prstGeom prst="roundRect">
            <a:avLst>
              <a:gd name="adj" fmla="val 13264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41" name="Скругленный прямоугольник 40">
            <a:extLst>
              <a:ext uri="{FF2B5EF4-FFF2-40B4-BE49-F238E27FC236}">
                <a16:creationId xmlns:a16="http://schemas.microsoft.com/office/drawing/2014/main" id="{79E71D0E-1E77-A817-D76B-B531C280A049}"/>
              </a:ext>
            </a:extLst>
          </p:cNvPr>
          <p:cNvSpPr/>
          <p:nvPr userDrawn="1"/>
        </p:nvSpPr>
        <p:spPr bwMode="auto">
          <a:xfrm>
            <a:off x="6026626" y="1881487"/>
            <a:ext cx="1382400" cy="2619237"/>
          </a:xfrm>
          <a:prstGeom prst="roundRect">
            <a:avLst>
              <a:gd name="adj" fmla="val 13264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3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в 2 строки для слайда с </a:t>
            </a:r>
            <a:r>
              <a:rPr lang="ru-RU" dirty="0" err="1">
                <a:effectLst/>
              </a:rPr>
              <a:t>хайлайтами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marL="0" algn="l" defTabSz="778986" rtl="0" eaLnBrk="1" latinLnBrk="0" hangingPunct="1">
              <a:defRPr lang="ru-RU" sz="1000" b="0" kern="1200" smtClean="0">
                <a:solidFill>
                  <a:srgbClr val="003D4C">
                    <a:alpha val="5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Сквиркл">
            <a:extLst>
              <a:ext uri="{FF2B5EF4-FFF2-40B4-BE49-F238E27FC236}">
                <a16:creationId xmlns:a16="http://schemas.microsoft.com/office/drawing/2014/main" id="{3F6B3E4A-0175-0800-51B7-79B40AFEB9B5}"/>
              </a:ext>
            </a:extLst>
          </p:cNvPr>
          <p:cNvSpPr/>
          <p:nvPr userDrawn="1"/>
        </p:nvSpPr>
        <p:spPr>
          <a:xfrm>
            <a:off x="327991" y="1295145"/>
            <a:ext cx="8492159" cy="504000"/>
          </a:xfrm>
          <a:prstGeom prst="roundRect">
            <a:avLst>
              <a:gd name="adj" fmla="val 14537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200" b="1">
              <a:latin typeface="Arial" panose="020B0604020202020204" pitchFamily="34" charset="0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21" name="Текст 35">
            <a:extLst>
              <a:ext uri="{FF2B5EF4-FFF2-40B4-BE49-F238E27FC236}">
                <a16:creationId xmlns:a16="http://schemas.microsoft.com/office/drawing/2014/main" id="{747B535C-5A37-DDDC-8FDB-1EBD03DEC59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57200" y="2026141"/>
            <a:ext cx="1239716" cy="153888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/>
              <a:t>Образец текста</a:t>
            </a:r>
          </a:p>
        </p:txBody>
      </p:sp>
      <p:sp>
        <p:nvSpPr>
          <p:cNvPr id="22" name="Текст 35">
            <a:extLst>
              <a:ext uri="{FF2B5EF4-FFF2-40B4-BE49-F238E27FC236}">
                <a16:creationId xmlns:a16="http://schemas.microsoft.com/office/drawing/2014/main" id="{77FA1E8C-FBC4-F156-2828-6B714DA4D90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881847" y="2026141"/>
            <a:ext cx="1239716" cy="153888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/>
              <a:t>Образец текста</a:t>
            </a:r>
          </a:p>
        </p:txBody>
      </p:sp>
      <p:sp>
        <p:nvSpPr>
          <p:cNvPr id="23" name="Текст 35">
            <a:extLst>
              <a:ext uri="{FF2B5EF4-FFF2-40B4-BE49-F238E27FC236}">
                <a16:creationId xmlns:a16="http://schemas.microsoft.com/office/drawing/2014/main" id="{4D1E4AE4-1A91-1F0D-46B0-F5FF9F4C20E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06494" y="2026141"/>
            <a:ext cx="1239716" cy="153888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/>
              <a:t>Образец текста</a:t>
            </a:r>
          </a:p>
        </p:txBody>
      </p:sp>
      <p:sp>
        <p:nvSpPr>
          <p:cNvPr id="24" name="Текст 35">
            <a:extLst>
              <a:ext uri="{FF2B5EF4-FFF2-40B4-BE49-F238E27FC236}">
                <a16:creationId xmlns:a16="http://schemas.microsoft.com/office/drawing/2014/main" id="{F7181D46-671D-40D6-6657-276337CFDE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31141" y="2026141"/>
            <a:ext cx="1239716" cy="153888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/>
              <a:t>Образец текста</a:t>
            </a:r>
          </a:p>
        </p:txBody>
      </p:sp>
      <p:sp>
        <p:nvSpPr>
          <p:cNvPr id="25" name="Текст 35">
            <a:extLst>
              <a:ext uri="{FF2B5EF4-FFF2-40B4-BE49-F238E27FC236}">
                <a16:creationId xmlns:a16="http://schemas.microsoft.com/office/drawing/2014/main" id="{3E6C458A-236E-C352-EB16-D83B584DC01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55788" y="2026141"/>
            <a:ext cx="1239716" cy="153888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/>
              <a:t>Образец текста</a:t>
            </a:r>
          </a:p>
        </p:txBody>
      </p:sp>
      <p:sp>
        <p:nvSpPr>
          <p:cNvPr id="26" name="Текст 35">
            <a:extLst>
              <a:ext uri="{FF2B5EF4-FFF2-40B4-BE49-F238E27FC236}">
                <a16:creationId xmlns:a16="http://schemas.microsoft.com/office/drawing/2014/main" id="{0F8ED797-87C8-4209-158B-8AB91F7D475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80434" y="2026141"/>
            <a:ext cx="1239716" cy="153888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/>
              <a:t>Образец текста</a:t>
            </a:r>
          </a:p>
        </p:txBody>
      </p:sp>
      <p:sp>
        <p:nvSpPr>
          <p:cNvPr id="27" name="Линия">
            <a:extLst>
              <a:ext uri="{FF2B5EF4-FFF2-40B4-BE49-F238E27FC236}">
                <a16:creationId xmlns:a16="http://schemas.microsoft.com/office/drawing/2014/main" id="{3ADF3FF2-DA3D-DFE0-A708-AB96133AB08C}"/>
              </a:ext>
            </a:extLst>
          </p:cNvPr>
          <p:cNvSpPr/>
          <p:nvPr userDrawn="1"/>
        </p:nvSpPr>
        <p:spPr>
          <a:xfrm>
            <a:off x="462725" y="1584620"/>
            <a:ext cx="8138764" cy="0"/>
          </a:xfrm>
          <a:prstGeom prst="line">
            <a:avLst/>
          </a:prstGeom>
          <a:ln w="25400">
            <a:solidFill>
              <a:srgbClr val="003D4C"/>
            </a:solidFill>
            <a:miter lim="400000"/>
            <a:tailEnd type="triangle"/>
          </a:ln>
        </p:spPr>
        <p:txBody>
          <a:bodyPr lIns="19050" tIns="19050" rIns="19050" bIns="19050" anchor="ctr"/>
          <a:lstStyle/>
          <a:p>
            <a:endParaRPr sz="338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Oval 19">
            <a:extLst>
              <a:ext uri="{FF2B5EF4-FFF2-40B4-BE49-F238E27FC236}">
                <a16:creationId xmlns:a16="http://schemas.microsoft.com/office/drawing/2014/main" id="{9F50934A-AB52-E7A4-57FF-33F9293EA890}"/>
              </a:ext>
            </a:extLst>
          </p:cNvPr>
          <p:cNvSpPr/>
          <p:nvPr userDrawn="1"/>
        </p:nvSpPr>
        <p:spPr>
          <a:xfrm>
            <a:off x="372282" y="1482095"/>
            <a:ext cx="186056" cy="186056"/>
          </a:xfrm>
          <a:prstGeom prst="ellipse">
            <a:avLst/>
          </a:prstGeom>
          <a:solidFill>
            <a:srgbClr val="FFFFFF"/>
          </a:solidFill>
          <a:ln w="28575">
            <a:solidFill>
              <a:srgbClr val="003D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50" dirty="0" err="1">
              <a:latin typeface="+mj-lt"/>
              <a:ea typeface="Arial" charset="0"/>
              <a:cs typeface="Arial" charset="0"/>
            </a:endParaRPr>
          </a:p>
        </p:txBody>
      </p:sp>
      <p:sp>
        <p:nvSpPr>
          <p:cNvPr id="29" name="Oval 19">
            <a:extLst>
              <a:ext uri="{FF2B5EF4-FFF2-40B4-BE49-F238E27FC236}">
                <a16:creationId xmlns:a16="http://schemas.microsoft.com/office/drawing/2014/main" id="{0BF96B74-368C-A951-FF66-A8630B474E18}"/>
              </a:ext>
            </a:extLst>
          </p:cNvPr>
          <p:cNvSpPr/>
          <p:nvPr userDrawn="1"/>
        </p:nvSpPr>
        <p:spPr>
          <a:xfrm>
            <a:off x="1763688" y="1491630"/>
            <a:ext cx="186056" cy="186056"/>
          </a:xfrm>
          <a:prstGeom prst="ellipse">
            <a:avLst/>
          </a:prstGeom>
          <a:solidFill>
            <a:srgbClr val="FFFFFF"/>
          </a:solidFill>
          <a:ln w="28575">
            <a:solidFill>
              <a:srgbClr val="003D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50" dirty="0" err="1">
              <a:latin typeface="+mj-lt"/>
              <a:ea typeface="Arial" charset="0"/>
              <a:cs typeface="Arial" charset="0"/>
            </a:endParaRPr>
          </a:p>
        </p:txBody>
      </p:sp>
      <p:sp>
        <p:nvSpPr>
          <p:cNvPr id="31" name="Oval 19">
            <a:extLst>
              <a:ext uri="{FF2B5EF4-FFF2-40B4-BE49-F238E27FC236}">
                <a16:creationId xmlns:a16="http://schemas.microsoft.com/office/drawing/2014/main" id="{F3100FAF-8CA4-5A04-BC4D-B9954E182FFA}"/>
              </a:ext>
            </a:extLst>
          </p:cNvPr>
          <p:cNvSpPr/>
          <p:nvPr userDrawn="1"/>
        </p:nvSpPr>
        <p:spPr>
          <a:xfrm>
            <a:off x="3161657" y="1491630"/>
            <a:ext cx="186056" cy="186056"/>
          </a:xfrm>
          <a:prstGeom prst="ellipse">
            <a:avLst/>
          </a:prstGeom>
          <a:solidFill>
            <a:srgbClr val="FFFFFF"/>
          </a:solidFill>
          <a:ln w="28575">
            <a:solidFill>
              <a:srgbClr val="003D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50" dirty="0" err="1">
              <a:latin typeface="+mj-lt"/>
              <a:ea typeface="Arial" charset="0"/>
              <a:cs typeface="Arial" charset="0"/>
            </a:endParaRPr>
          </a:p>
        </p:txBody>
      </p:sp>
      <p:sp>
        <p:nvSpPr>
          <p:cNvPr id="32" name="Oval 19">
            <a:extLst>
              <a:ext uri="{FF2B5EF4-FFF2-40B4-BE49-F238E27FC236}">
                <a16:creationId xmlns:a16="http://schemas.microsoft.com/office/drawing/2014/main" id="{6D7D9CB6-C118-16AF-D969-9BC826041D3C}"/>
              </a:ext>
            </a:extLst>
          </p:cNvPr>
          <p:cNvSpPr/>
          <p:nvPr userDrawn="1"/>
        </p:nvSpPr>
        <p:spPr>
          <a:xfrm>
            <a:off x="4572000" y="1491630"/>
            <a:ext cx="186056" cy="186056"/>
          </a:xfrm>
          <a:prstGeom prst="ellipse">
            <a:avLst/>
          </a:prstGeom>
          <a:solidFill>
            <a:srgbClr val="FFFFFF"/>
          </a:solidFill>
          <a:ln w="28575">
            <a:solidFill>
              <a:srgbClr val="003D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50" dirty="0" err="1">
              <a:latin typeface="+mj-lt"/>
              <a:ea typeface="Arial" charset="0"/>
              <a:cs typeface="Arial" charset="0"/>
            </a:endParaRPr>
          </a:p>
        </p:txBody>
      </p:sp>
      <p:sp>
        <p:nvSpPr>
          <p:cNvPr id="33" name="Oval 19">
            <a:extLst>
              <a:ext uri="{FF2B5EF4-FFF2-40B4-BE49-F238E27FC236}">
                <a16:creationId xmlns:a16="http://schemas.microsoft.com/office/drawing/2014/main" id="{45CD68D2-ACAE-DC6C-976C-180B4BF85AC1}"/>
              </a:ext>
            </a:extLst>
          </p:cNvPr>
          <p:cNvSpPr/>
          <p:nvPr userDrawn="1"/>
        </p:nvSpPr>
        <p:spPr>
          <a:xfrm>
            <a:off x="6012160" y="1491630"/>
            <a:ext cx="186056" cy="186056"/>
          </a:xfrm>
          <a:prstGeom prst="ellipse">
            <a:avLst/>
          </a:prstGeom>
          <a:solidFill>
            <a:srgbClr val="FFFFFF"/>
          </a:solidFill>
          <a:ln w="28575">
            <a:solidFill>
              <a:srgbClr val="003D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50" dirty="0" err="1">
              <a:latin typeface="+mj-lt"/>
              <a:ea typeface="Arial" charset="0"/>
              <a:cs typeface="Arial" charset="0"/>
            </a:endParaRPr>
          </a:p>
        </p:txBody>
      </p:sp>
      <p:sp>
        <p:nvSpPr>
          <p:cNvPr id="34" name="Oval 19">
            <a:extLst>
              <a:ext uri="{FF2B5EF4-FFF2-40B4-BE49-F238E27FC236}">
                <a16:creationId xmlns:a16="http://schemas.microsoft.com/office/drawing/2014/main" id="{4B5F4162-6AD3-11A8-5131-A99BA0AEBA54}"/>
              </a:ext>
            </a:extLst>
          </p:cNvPr>
          <p:cNvSpPr/>
          <p:nvPr userDrawn="1"/>
        </p:nvSpPr>
        <p:spPr>
          <a:xfrm>
            <a:off x="7420068" y="1491630"/>
            <a:ext cx="186056" cy="186056"/>
          </a:xfrm>
          <a:prstGeom prst="ellipse">
            <a:avLst/>
          </a:prstGeom>
          <a:solidFill>
            <a:srgbClr val="FFFFFF"/>
          </a:solidFill>
          <a:ln w="28575">
            <a:solidFill>
              <a:srgbClr val="003D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50" dirty="0" err="1">
              <a:latin typeface="+mj-lt"/>
              <a:ea typeface="Arial" charset="0"/>
              <a:cs typeface="Arial" charset="0"/>
            </a:endParaRPr>
          </a:p>
        </p:txBody>
      </p:sp>
      <p:sp>
        <p:nvSpPr>
          <p:cNvPr id="35" name="Текст 35">
            <a:extLst>
              <a:ext uri="{FF2B5EF4-FFF2-40B4-BE49-F238E27FC236}">
                <a16:creationId xmlns:a16="http://schemas.microsoft.com/office/drawing/2014/main" id="{0B935ADA-8222-1F36-57C5-5C7EE24696D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5294" y="1355632"/>
            <a:ext cx="874459" cy="184666"/>
          </a:xfrm>
        </p:spPr>
        <p:txBody>
          <a:bodyPr anchor="ctr">
            <a:spAutoFit/>
          </a:bodyPr>
          <a:lstStyle>
            <a:lvl1pPr algn="l">
              <a:lnSpc>
                <a:spcPct val="100000"/>
              </a:lnSpc>
              <a:defRPr sz="12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ХХХХ</a:t>
            </a:r>
          </a:p>
        </p:txBody>
      </p:sp>
      <p:sp>
        <p:nvSpPr>
          <p:cNvPr id="36" name="Текст 35">
            <a:extLst>
              <a:ext uri="{FF2B5EF4-FFF2-40B4-BE49-F238E27FC236}">
                <a16:creationId xmlns:a16="http://schemas.microsoft.com/office/drawing/2014/main" id="{892F727C-7AE8-E025-BB40-F7AF9090B4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000260" y="1343046"/>
            <a:ext cx="874459" cy="184666"/>
          </a:xfrm>
        </p:spPr>
        <p:txBody>
          <a:bodyPr anchor="ctr">
            <a:spAutoFit/>
          </a:bodyPr>
          <a:lstStyle>
            <a:lvl1pPr algn="l">
              <a:lnSpc>
                <a:spcPct val="100000"/>
              </a:lnSpc>
              <a:defRPr sz="12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ХХХХ</a:t>
            </a:r>
          </a:p>
        </p:txBody>
      </p:sp>
      <p:sp>
        <p:nvSpPr>
          <p:cNvPr id="38" name="Текст 35">
            <a:extLst>
              <a:ext uri="{FF2B5EF4-FFF2-40B4-BE49-F238E27FC236}">
                <a16:creationId xmlns:a16="http://schemas.microsoft.com/office/drawing/2014/main" id="{0B4524E8-75CF-8E84-9766-D17B49E1969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99324" y="1343046"/>
            <a:ext cx="874459" cy="184666"/>
          </a:xfrm>
        </p:spPr>
        <p:txBody>
          <a:bodyPr anchor="ctr">
            <a:spAutoFit/>
          </a:bodyPr>
          <a:lstStyle>
            <a:lvl1pPr algn="l">
              <a:lnSpc>
                <a:spcPct val="100000"/>
              </a:lnSpc>
              <a:defRPr sz="12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ХХХХ</a:t>
            </a:r>
          </a:p>
        </p:txBody>
      </p:sp>
      <p:sp>
        <p:nvSpPr>
          <p:cNvPr id="39" name="Текст 35">
            <a:extLst>
              <a:ext uri="{FF2B5EF4-FFF2-40B4-BE49-F238E27FC236}">
                <a16:creationId xmlns:a16="http://schemas.microsoft.com/office/drawing/2014/main" id="{39FD246E-8DCC-3C1D-F9A9-255C3417B7C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88024" y="1343046"/>
            <a:ext cx="874459" cy="184666"/>
          </a:xfrm>
        </p:spPr>
        <p:txBody>
          <a:bodyPr anchor="ctr">
            <a:spAutoFit/>
          </a:bodyPr>
          <a:lstStyle>
            <a:lvl1pPr algn="l">
              <a:lnSpc>
                <a:spcPct val="100000"/>
              </a:lnSpc>
              <a:defRPr sz="12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ХХХХ</a:t>
            </a:r>
          </a:p>
        </p:txBody>
      </p:sp>
      <p:sp>
        <p:nvSpPr>
          <p:cNvPr id="44" name="Текст 35">
            <a:extLst>
              <a:ext uri="{FF2B5EF4-FFF2-40B4-BE49-F238E27FC236}">
                <a16:creationId xmlns:a16="http://schemas.microsoft.com/office/drawing/2014/main" id="{200CFB70-D4D0-AF65-034F-37985499077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28184" y="1343046"/>
            <a:ext cx="874459" cy="184666"/>
          </a:xfrm>
        </p:spPr>
        <p:txBody>
          <a:bodyPr anchor="ctr">
            <a:spAutoFit/>
          </a:bodyPr>
          <a:lstStyle>
            <a:lvl1pPr algn="l">
              <a:lnSpc>
                <a:spcPct val="100000"/>
              </a:lnSpc>
              <a:defRPr sz="12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ХХХХ</a:t>
            </a:r>
          </a:p>
        </p:txBody>
      </p:sp>
      <p:sp>
        <p:nvSpPr>
          <p:cNvPr id="45" name="Текст 35">
            <a:extLst>
              <a:ext uri="{FF2B5EF4-FFF2-40B4-BE49-F238E27FC236}">
                <a16:creationId xmlns:a16="http://schemas.microsoft.com/office/drawing/2014/main" id="{6273EBFC-CE67-38CA-05DA-72F4988C2F6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47796" y="1343046"/>
            <a:ext cx="874459" cy="184666"/>
          </a:xfrm>
        </p:spPr>
        <p:txBody>
          <a:bodyPr anchor="ctr">
            <a:spAutoFit/>
          </a:bodyPr>
          <a:lstStyle>
            <a:lvl1pPr algn="l">
              <a:lnSpc>
                <a:spcPct val="100000"/>
              </a:lnSpc>
              <a:defRPr sz="12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ХХХХ</a:t>
            </a:r>
          </a:p>
        </p:txBody>
      </p:sp>
      <p:sp>
        <p:nvSpPr>
          <p:cNvPr id="42" name="Рисунок 14">
            <a:extLst>
              <a:ext uri="{FF2B5EF4-FFF2-40B4-BE49-F238E27FC236}">
                <a16:creationId xmlns:a16="http://schemas.microsoft.com/office/drawing/2014/main" id="{E3734B31-AC57-FA41-FDD6-AE522C2E5F6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3850" y="3604324"/>
            <a:ext cx="1382400" cy="896400"/>
          </a:xfrm>
          <a:prstGeom prst="roundRect">
            <a:avLst>
              <a:gd name="adj" fmla="val 16600"/>
            </a:avLst>
          </a:prstGeom>
        </p:spPr>
        <p:txBody>
          <a:bodyPr/>
          <a:lstStyle>
            <a:lvl1pPr>
              <a:lnSpc>
                <a:spcPct val="100000"/>
              </a:lnSpc>
              <a:defRPr b="0" i="0"/>
            </a:lvl1pPr>
          </a:lstStyle>
          <a:p>
            <a:endParaRPr lang="ru-RU" dirty="0"/>
          </a:p>
        </p:txBody>
      </p:sp>
      <p:sp>
        <p:nvSpPr>
          <p:cNvPr id="43" name="Рисунок 14">
            <a:extLst>
              <a:ext uri="{FF2B5EF4-FFF2-40B4-BE49-F238E27FC236}">
                <a16:creationId xmlns:a16="http://schemas.microsoft.com/office/drawing/2014/main" id="{6D77C67A-27EA-DA3D-45E8-88D476B9D7E5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750568" y="3604324"/>
            <a:ext cx="1382400" cy="896400"/>
          </a:xfrm>
          <a:prstGeom prst="roundRect">
            <a:avLst>
              <a:gd name="adj" fmla="val 16600"/>
            </a:avLst>
          </a:prstGeom>
        </p:spPr>
        <p:txBody>
          <a:bodyPr/>
          <a:lstStyle>
            <a:lvl1pPr>
              <a:lnSpc>
                <a:spcPct val="100000"/>
              </a:lnSpc>
              <a:defRPr b="0" i="0"/>
            </a:lvl1pPr>
          </a:lstStyle>
          <a:p>
            <a:endParaRPr lang="ru-RU" dirty="0"/>
          </a:p>
        </p:txBody>
      </p:sp>
      <p:sp>
        <p:nvSpPr>
          <p:cNvPr id="46" name="Рисунок 14">
            <a:extLst>
              <a:ext uri="{FF2B5EF4-FFF2-40B4-BE49-F238E27FC236}">
                <a16:creationId xmlns:a16="http://schemas.microsoft.com/office/drawing/2014/main" id="{F5B06888-BBB0-9D23-FC59-47ED42B44CCA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3177286" y="3604324"/>
            <a:ext cx="1382400" cy="896400"/>
          </a:xfrm>
          <a:prstGeom prst="roundRect">
            <a:avLst>
              <a:gd name="adj" fmla="val 16600"/>
            </a:avLst>
          </a:prstGeom>
        </p:spPr>
        <p:txBody>
          <a:bodyPr/>
          <a:lstStyle>
            <a:lvl1pPr>
              <a:lnSpc>
                <a:spcPct val="100000"/>
              </a:lnSpc>
              <a:defRPr b="0" i="0"/>
            </a:lvl1pPr>
          </a:lstStyle>
          <a:p>
            <a:endParaRPr lang="ru-RU" dirty="0"/>
          </a:p>
        </p:txBody>
      </p:sp>
      <p:sp>
        <p:nvSpPr>
          <p:cNvPr id="47" name="Рисунок 14">
            <a:extLst>
              <a:ext uri="{FF2B5EF4-FFF2-40B4-BE49-F238E27FC236}">
                <a16:creationId xmlns:a16="http://schemas.microsoft.com/office/drawing/2014/main" id="{A4CB7772-C991-C853-ACCC-5E22C794843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604004" y="3604324"/>
            <a:ext cx="1382400" cy="896400"/>
          </a:xfrm>
          <a:prstGeom prst="roundRect">
            <a:avLst>
              <a:gd name="adj" fmla="val 16600"/>
            </a:avLst>
          </a:prstGeom>
        </p:spPr>
        <p:txBody>
          <a:bodyPr/>
          <a:lstStyle>
            <a:lvl1pPr>
              <a:lnSpc>
                <a:spcPct val="100000"/>
              </a:lnSpc>
              <a:defRPr b="0" i="0"/>
            </a:lvl1pPr>
          </a:lstStyle>
          <a:p>
            <a:endParaRPr lang="ru-RU" dirty="0"/>
          </a:p>
        </p:txBody>
      </p:sp>
      <p:sp>
        <p:nvSpPr>
          <p:cNvPr id="48" name="Рисунок 14">
            <a:extLst>
              <a:ext uri="{FF2B5EF4-FFF2-40B4-BE49-F238E27FC236}">
                <a16:creationId xmlns:a16="http://schemas.microsoft.com/office/drawing/2014/main" id="{2967796B-121B-E576-DEE8-0FBC4776A8A9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030722" y="3604324"/>
            <a:ext cx="1382400" cy="896400"/>
          </a:xfrm>
          <a:prstGeom prst="roundRect">
            <a:avLst>
              <a:gd name="adj" fmla="val 16600"/>
            </a:avLst>
          </a:prstGeom>
        </p:spPr>
        <p:txBody>
          <a:bodyPr/>
          <a:lstStyle>
            <a:lvl1pPr>
              <a:lnSpc>
                <a:spcPct val="100000"/>
              </a:lnSpc>
              <a:defRPr b="0" i="0"/>
            </a:lvl1pPr>
          </a:lstStyle>
          <a:p>
            <a:endParaRPr lang="ru-RU" dirty="0"/>
          </a:p>
        </p:txBody>
      </p:sp>
      <p:sp>
        <p:nvSpPr>
          <p:cNvPr id="49" name="Рисунок 14">
            <a:extLst>
              <a:ext uri="{FF2B5EF4-FFF2-40B4-BE49-F238E27FC236}">
                <a16:creationId xmlns:a16="http://schemas.microsoft.com/office/drawing/2014/main" id="{3ECA30B8-656F-B775-BF0F-272F87357B49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7457442" y="3604324"/>
            <a:ext cx="1382400" cy="896400"/>
          </a:xfrm>
          <a:prstGeom prst="roundRect">
            <a:avLst>
              <a:gd name="adj" fmla="val 16600"/>
            </a:avLst>
          </a:prstGeom>
        </p:spPr>
        <p:txBody>
          <a:bodyPr/>
          <a:lstStyle>
            <a:lvl1pPr>
              <a:lnSpc>
                <a:spcPct val="100000"/>
              </a:lnSpc>
              <a:defRPr b="0" i="0"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966710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B4A72B63-DADD-D810-3DF2-0F9F3A54FD70}"/>
              </a:ext>
            </a:extLst>
          </p:cNvPr>
          <p:cNvSpPr/>
          <p:nvPr userDrawn="1"/>
        </p:nvSpPr>
        <p:spPr bwMode="auto">
          <a:xfrm>
            <a:off x="323851" y="1133779"/>
            <a:ext cx="2760312" cy="3382659"/>
          </a:xfrm>
          <a:prstGeom prst="roundRect">
            <a:avLst>
              <a:gd name="adj" fmla="val 7744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15728B0F-FF7B-95FE-B040-3CD2E5CA5A7A}"/>
              </a:ext>
            </a:extLst>
          </p:cNvPr>
          <p:cNvSpPr/>
          <p:nvPr userDrawn="1"/>
        </p:nvSpPr>
        <p:spPr bwMode="auto">
          <a:xfrm>
            <a:off x="3198737" y="1131590"/>
            <a:ext cx="2760312" cy="3382659"/>
          </a:xfrm>
          <a:prstGeom prst="roundRect">
            <a:avLst>
              <a:gd name="adj" fmla="val 7836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в 2 строки для слайда с </a:t>
            </a:r>
            <a:r>
              <a:rPr lang="ru-RU" dirty="0" err="1">
                <a:effectLst/>
              </a:rPr>
              <a:t>хайлайтами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5">
            <a:extLst>
              <a:ext uri="{FF2B5EF4-FFF2-40B4-BE49-F238E27FC236}">
                <a16:creationId xmlns:a16="http://schemas.microsoft.com/office/drawing/2014/main" id="{213108D9-4332-E6D3-55D8-6EB5EB3803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684" y="1410465"/>
            <a:ext cx="2151063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журнальный вид.</a:t>
            </a:r>
            <a:endParaRPr lang="ru-RU" dirty="0"/>
          </a:p>
        </p:txBody>
      </p:sp>
      <p:sp>
        <p:nvSpPr>
          <p:cNvPr id="6" name="Текст 35">
            <a:extLst>
              <a:ext uri="{FF2B5EF4-FFF2-40B4-BE49-F238E27FC236}">
                <a16:creationId xmlns:a16="http://schemas.microsoft.com/office/drawing/2014/main" id="{F11B5FFA-30FB-EE2C-31AB-0C7C0B634D4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11570" y="1408276"/>
            <a:ext cx="2151063" cy="615553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>
                <a:effectLst/>
              </a:rPr>
              <a:t>Обычный наборный текст.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Разные уровни иерархии заголовков придают слайдам слегка журнальный ви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3353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8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5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effectLst/>
              </a:rPr>
              <a:t>Длинный наборный заголовок</a:t>
            </a:r>
            <a:br>
              <a:rPr lang="ru-RU" dirty="0">
                <a:effectLst/>
              </a:rPr>
            </a:br>
            <a:r>
              <a:rPr lang="ru-RU" dirty="0">
                <a:effectLst/>
              </a:rPr>
              <a:t>в 2 строки для слайда с </a:t>
            </a:r>
            <a:r>
              <a:rPr lang="ru-RU" dirty="0" err="1">
                <a:effectLst/>
              </a:rPr>
              <a:t>хайлайтами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marL="0" algn="l" defTabSz="778986" rtl="0" eaLnBrk="1" latinLnBrk="0" hangingPunct="1">
              <a:defRPr lang="ru-RU" sz="1000" b="0" kern="1200" smtClean="0">
                <a:solidFill>
                  <a:srgbClr val="003D4C">
                    <a:alpha val="5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3" name="Сквиркл">
            <a:extLst>
              <a:ext uri="{FF2B5EF4-FFF2-40B4-BE49-F238E27FC236}">
                <a16:creationId xmlns:a16="http://schemas.microsoft.com/office/drawing/2014/main" id="{E890C8DD-80BC-0975-E690-345D816CF8ED}"/>
              </a:ext>
            </a:extLst>
          </p:cNvPr>
          <p:cNvSpPr/>
          <p:nvPr userDrawn="1"/>
        </p:nvSpPr>
        <p:spPr>
          <a:xfrm>
            <a:off x="480663" y="3938954"/>
            <a:ext cx="8339487" cy="580452"/>
          </a:xfrm>
          <a:prstGeom prst="roundRect">
            <a:avLst>
              <a:gd name="adj" fmla="val 14537"/>
            </a:avLst>
          </a:prstGeom>
          <a:gradFill>
            <a:gsLst>
              <a:gs pos="72028">
                <a:schemeClr val="bg2">
                  <a:lumMod val="60000"/>
                  <a:lumOff val="40000"/>
                </a:schemeClr>
              </a:gs>
              <a:gs pos="37000">
                <a:srgbClr val="77E2C3">
                  <a:alpha val="84000"/>
                </a:srgbClr>
              </a:gs>
              <a:gs pos="100000">
                <a:srgbClr val="FFFFFF">
                  <a:alpha val="5501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200" b="1">
              <a:latin typeface="Arial" panose="020B0604020202020204" pitchFamily="34" charset="0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4" name="Линия">
            <a:extLst>
              <a:ext uri="{FF2B5EF4-FFF2-40B4-BE49-F238E27FC236}">
                <a16:creationId xmlns:a16="http://schemas.microsoft.com/office/drawing/2014/main" id="{61F91DC0-8EF1-1017-A036-C72DC58695DC}"/>
              </a:ext>
            </a:extLst>
          </p:cNvPr>
          <p:cNvSpPr/>
          <p:nvPr userDrawn="1"/>
        </p:nvSpPr>
        <p:spPr>
          <a:xfrm>
            <a:off x="6012160" y="1473786"/>
            <a:ext cx="0" cy="2814058"/>
          </a:xfrm>
          <a:prstGeom prst="line">
            <a:avLst/>
          </a:prstGeom>
          <a:ln w="6350">
            <a:solidFill>
              <a:srgbClr val="B2B2B2"/>
            </a:solidFill>
            <a:prstDash val="solid"/>
          </a:ln>
        </p:spPr>
        <p:txBody>
          <a:bodyPr lIns="19050" tIns="19050" rIns="19050" bIns="19050" anchor="ctr"/>
          <a:lstStyle/>
          <a:p>
            <a:endParaRPr sz="338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Линия">
            <a:extLst>
              <a:ext uri="{FF2B5EF4-FFF2-40B4-BE49-F238E27FC236}">
                <a16:creationId xmlns:a16="http://schemas.microsoft.com/office/drawing/2014/main" id="{36C2845E-DCD9-C735-AC06-229577FED61D}"/>
              </a:ext>
            </a:extLst>
          </p:cNvPr>
          <p:cNvSpPr/>
          <p:nvPr userDrawn="1"/>
        </p:nvSpPr>
        <p:spPr>
          <a:xfrm flipH="1">
            <a:off x="2015716" y="1473786"/>
            <a:ext cx="0" cy="2814058"/>
          </a:xfrm>
          <a:prstGeom prst="line">
            <a:avLst/>
          </a:prstGeom>
          <a:ln w="6350">
            <a:solidFill>
              <a:srgbClr val="B2B2B2"/>
            </a:solidFill>
            <a:prstDash val="solid"/>
          </a:ln>
        </p:spPr>
        <p:txBody>
          <a:bodyPr lIns="19050" tIns="19050" rIns="19050" bIns="19050" anchor="ctr"/>
          <a:lstStyle/>
          <a:p>
            <a:endParaRPr sz="338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Линия">
            <a:extLst>
              <a:ext uri="{FF2B5EF4-FFF2-40B4-BE49-F238E27FC236}">
                <a16:creationId xmlns:a16="http://schemas.microsoft.com/office/drawing/2014/main" id="{AA7FF80A-85C4-958E-4B5F-C9D1458579C2}"/>
              </a:ext>
            </a:extLst>
          </p:cNvPr>
          <p:cNvSpPr/>
          <p:nvPr userDrawn="1"/>
        </p:nvSpPr>
        <p:spPr>
          <a:xfrm flipH="1">
            <a:off x="4680012" y="1473786"/>
            <a:ext cx="0" cy="2814058"/>
          </a:xfrm>
          <a:prstGeom prst="line">
            <a:avLst/>
          </a:prstGeom>
          <a:ln w="6350">
            <a:solidFill>
              <a:srgbClr val="B2B2B2"/>
            </a:solidFill>
            <a:prstDash val="solid"/>
          </a:ln>
        </p:spPr>
        <p:txBody>
          <a:bodyPr lIns="19050" tIns="19050" rIns="19050" bIns="19050" anchor="ctr"/>
          <a:lstStyle/>
          <a:p>
            <a:endParaRPr sz="338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Линия">
            <a:extLst>
              <a:ext uri="{FF2B5EF4-FFF2-40B4-BE49-F238E27FC236}">
                <a16:creationId xmlns:a16="http://schemas.microsoft.com/office/drawing/2014/main" id="{B3B3CB1E-3F4B-17F2-BBFE-28635A6C2AC5}"/>
              </a:ext>
            </a:extLst>
          </p:cNvPr>
          <p:cNvSpPr/>
          <p:nvPr userDrawn="1"/>
        </p:nvSpPr>
        <p:spPr>
          <a:xfrm>
            <a:off x="7344308" y="1473786"/>
            <a:ext cx="0" cy="2767637"/>
          </a:xfrm>
          <a:prstGeom prst="line">
            <a:avLst/>
          </a:prstGeom>
          <a:ln w="6350">
            <a:solidFill>
              <a:schemeClr val="accent1"/>
            </a:solidFill>
            <a:miter lim="400000"/>
          </a:ln>
        </p:spPr>
        <p:txBody>
          <a:bodyPr lIns="19050" tIns="19050" rIns="19050" bIns="19050" anchor="ctr"/>
          <a:lstStyle/>
          <a:p>
            <a:endParaRPr sz="338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Линия">
            <a:extLst>
              <a:ext uri="{FF2B5EF4-FFF2-40B4-BE49-F238E27FC236}">
                <a16:creationId xmlns:a16="http://schemas.microsoft.com/office/drawing/2014/main" id="{7FAD7ED4-9C08-F7C7-58C1-FE2FFCA6AE29}"/>
              </a:ext>
            </a:extLst>
          </p:cNvPr>
          <p:cNvSpPr/>
          <p:nvPr userDrawn="1"/>
        </p:nvSpPr>
        <p:spPr>
          <a:xfrm flipH="1">
            <a:off x="3347864" y="1473786"/>
            <a:ext cx="0" cy="2814058"/>
          </a:xfrm>
          <a:prstGeom prst="line">
            <a:avLst/>
          </a:prstGeom>
          <a:ln w="6350">
            <a:solidFill>
              <a:srgbClr val="B2B2B2"/>
            </a:solidFill>
            <a:prstDash val="solid"/>
          </a:ln>
        </p:spPr>
        <p:txBody>
          <a:bodyPr lIns="19050" tIns="19050" rIns="19050" bIns="19050" anchor="ctr"/>
          <a:lstStyle/>
          <a:p>
            <a:endParaRPr sz="338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Линия">
            <a:extLst>
              <a:ext uri="{FF2B5EF4-FFF2-40B4-BE49-F238E27FC236}">
                <a16:creationId xmlns:a16="http://schemas.microsoft.com/office/drawing/2014/main" id="{324803F2-BFC9-2F54-B10E-BE3CF2D4955A}"/>
              </a:ext>
            </a:extLst>
          </p:cNvPr>
          <p:cNvSpPr/>
          <p:nvPr userDrawn="1"/>
        </p:nvSpPr>
        <p:spPr>
          <a:xfrm>
            <a:off x="681386" y="4288063"/>
            <a:ext cx="8138764" cy="0"/>
          </a:xfrm>
          <a:prstGeom prst="line">
            <a:avLst/>
          </a:prstGeom>
          <a:ln w="25400">
            <a:solidFill>
              <a:srgbClr val="003D4C"/>
            </a:solidFill>
            <a:miter lim="400000"/>
            <a:tailEnd type="triangle"/>
          </a:ln>
        </p:spPr>
        <p:txBody>
          <a:bodyPr lIns="19050" tIns="19050" rIns="19050" bIns="19050" anchor="ctr"/>
          <a:lstStyle/>
          <a:p>
            <a:endParaRPr sz="338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Текст 35">
            <a:extLst>
              <a:ext uri="{FF2B5EF4-FFF2-40B4-BE49-F238E27FC236}">
                <a16:creationId xmlns:a16="http://schemas.microsoft.com/office/drawing/2014/main" id="{C5890400-ABA5-DA25-4A9D-6A4ACB0FAD3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765425" y="1481610"/>
            <a:ext cx="1224000" cy="153888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/>
              <a:t>Образец текста</a:t>
            </a:r>
          </a:p>
        </p:txBody>
      </p:sp>
      <p:sp>
        <p:nvSpPr>
          <p:cNvPr id="35" name="Текст 35">
            <a:extLst>
              <a:ext uri="{FF2B5EF4-FFF2-40B4-BE49-F238E27FC236}">
                <a16:creationId xmlns:a16="http://schemas.microsoft.com/office/drawing/2014/main" id="{C7B287E4-14FE-548D-ED0F-FB77AE0A22B8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2098677" y="1481610"/>
            <a:ext cx="1224000" cy="153888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/>
              <a:t>Образец текста</a:t>
            </a:r>
          </a:p>
        </p:txBody>
      </p:sp>
      <p:sp>
        <p:nvSpPr>
          <p:cNvPr id="36" name="Текст 35">
            <a:extLst>
              <a:ext uri="{FF2B5EF4-FFF2-40B4-BE49-F238E27FC236}">
                <a16:creationId xmlns:a16="http://schemas.microsoft.com/office/drawing/2014/main" id="{BA4138B1-D688-4777-6BD9-473392DD37A9}"/>
              </a:ext>
            </a:extLst>
          </p:cNvPr>
          <p:cNvSpPr>
            <a:spLocks noGrp="1"/>
          </p:cNvSpPr>
          <p:nvPr userDrawn="1">
            <p:ph type="body" sz="quarter" idx="21"/>
          </p:nvPr>
        </p:nvSpPr>
        <p:spPr>
          <a:xfrm>
            <a:off x="3431929" y="1481610"/>
            <a:ext cx="1224000" cy="153888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/>
              <a:t>Образец текста</a:t>
            </a:r>
          </a:p>
        </p:txBody>
      </p:sp>
      <p:sp>
        <p:nvSpPr>
          <p:cNvPr id="37" name="Текст 35">
            <a:extLst>
              <a:ext uri="{FF2B5EF4-FFF2-40B4-BE49-F238E27FC236}">
                <a16:creationId xmlns:a16="http://schemas.microsoft.com/office/drawing/2014/main" id="{E7A4D8DD-83B3-31D9-CD34-B2DB1453571B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4765181" y="1481610"/>
            <a:ext cx="1224000" cy="153888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/>
              <a:t>Образец текста</a:t>
            </a:r>
          </a:p>
        </p:txBody>
      </p:sp>
      <p:sp>
        <p:nvSpPr>
          <p:cNvPr id="38" name="Текст 35">
            <a:extLst>
              <a:ext uri="{FF2B5EF4-FFF2-40B4-BE49-F238E27FC236}">
                <a16:creationId xmlns:a16="http://schemas.microsoft.com/office/drawing/2014/main" id="{BBB1DF5D-E8B2-130E-BC35-1E611BFE7754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6098433" y="1481610"/>
            <a:ext cx="1224000" cy="153888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/>
              <a:t>Образец текста</a:t>
            </a:r>
          </a:p>
        </p:txBody>
      </p:sp>
      <p:sp>
        <p:nvSpPr>
          <p:cNvPr id="39" name="Текст 35">
            <a:extLst>
              <a:ext uri="{FF2B5EF4-FFF2-40B4-BE49-F238E27FC236}">
                <a16:creationId xmlns:a16="http://schemas.microsoft.com/office/drawing/2014/main" id="{BD584A98-2AC1-57EB-6291-EC0C6B73F086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431683" y="1481610"/>
            <a:ext cx="1224000" cy="153888"/>
          </a:xfrm>
        </p:spPr>
        <p:txBody>
          <a:bodyPr vert="horz" lIns="0" tIns="0" rIns="0" bIns="0" rtlCol="0">
            <a:spAutoFit/>
          </a:bodyPr>
          <a:lstStyle>
            <a:lvl1pPr>
              <a:defRPr lang="ru-RU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ru-RU" dirty="0"/>
              <a:t>Образец текста</a:t>
            </a:r>
          </a:p>
        </p:txBody>
      </p:sp>
      <p:sp>
        <p:nvSpPr>
          <p:cNvPr id="48" name="Текст 35">
            <a:extLst>
              <a:ext uri="{FF2B5EF4-FFF2-40B4-BE49-F238E27FC236}">
                <a16:creationId xmlns:a16="http://schemas.microsoft.com/office/drawing/2014/main" id="{CE09B7FB-736B-0B35-E3C3-37411CF5AC0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7053" y="4086873"/>
            <a:ext cx="874459" cy="184666"/>
          </a:xfrm>
        </p:spPr>
        <p:txBody>
          <a:bodyPr vert="horz" lIns="0" tIns="0" rIns="0" bIns="0" rtlCol="0" anchor="ctr">
            <a:spAutoFit/>
          </a:bodyPr>
          <a:lstStyle>
            <a:lvl1pPr>
              <a:defRPr lang="ru-RU" sz="1200" b="1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ХХХХ</a:t>
            </a:r>
          </a:p>
        </p:txBody>
      </p:sp>
      <p:sp>
        <p:nvSpPr>
          <p:cNvPr id="49" name="Текст 35">
            <a:extLst>
              <a:ext uri="{FF2B5EF4-FFF2-40B4-BE49-F238E27FC236}">
                <a16:creationId xmlns:a16="http://schemas.microsoft.com/office/drawing/2014/main" id="{9FCD8CE7-25D5-89BE-1C71-1BE83B04568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164647" y="4074287"/>
            <a:ext cx="874459" cy="184666"/>
          </a:xfrm>
        </p:spPr>
        <p:txBody>
          <a:bodyPr vert="horz" lIns="0" tIns="0" rIns="0" bIns="0" rtlCol="0" anchor="ctr">
            <a:spAutoFit/>
          </a:bodyPr>
          <a:lstStyle>
            <a:lvl1pPr>
              <a:defRPr lang="ru-RU" sz="1200" b="1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ХХХХ</a:t>
            </a:r>
          </a:p>
        </p:txBody>
      </p:sp>
      <p:sp>
        <p:nvSpPr>
          <p:cNvPr id="50" name="Текст 35">
            <a:extLst>
              <a:ext uri="{FF2B5EF4-FFF2-40B4-BE49-F238E27FC236}">
                <a16:creationId xmlns:a16="http://schemas.microsoft.com/office/drawing/2014/main" id="{317884D6-F783-8039-F0E6-1D7B93C9A45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512340" y="4074287"/>
            <a:ext cx="874459" cy="184666"/>
          </a:xfrm>
        </p:spPr>
        <p:txBody>
          <a:bodyPr vert="horz" lIns="0" tIns="0" rIns="0" bIns="0" rtlCol="0" anchor="ctr">
            <a:spAutoFit/>
          </a:bodyPr>
          <a:lstStyle>
            <a:lvl1pPr>
              <a:defRPr lang="ru-RU" sz="1200" b="1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ХХХХ</a:t>
            </a:r>
          </a:p>
        </p:txBody>
      </p:sp>
      <p:sp>
        <p:nvSpPr>
          <p:cNvPr id="51" name="Текст 35">
            <a:extLst>
              <a:ext uri="{FF2B5EF4-FFF2-40B4-BE49-F238E27FC236}">
                <a16:creationId xmlns:a16="http://schemas.microsoft.com/office/drawing/2014/main" id="{9492741F-F9BE-6AD1-C047-1135E01B746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18847" y="4074287"/>
            <a:ext cx="874459" cy="184666"/>
          </a:xfrm>
        </p:spPr>
        <p:txBody>
          <a:bodyPr vert="horz" lIns="0" tIns="0" rIns="0" bIns="0" rtlCol="0" anchor="ctr">
            <a:spAutoFit/>
          </a:bodyPr>
          <a:lstStyle>
            <a:lvl1pPr>
              <a:defRPr lang="ru-RU" sz="1200" b="1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ХХХХ</a:t>
            </a:r>
          </a:p>
        </p:txBody>
      </p:sp>
      <p:sp>
        <p:nvSpPr>
          <p:cNvPr id="52" name="Текст 35">
            <a:extLst>
              <a:ext uri="{FF2B5EF4-FFF2-40B4-BE49-F238E27FC236}">
                <a16:creationId xmlns:a16="http://schemas.microsoft.com/office/drawing/2014/main" id="{7595598B-E8B1-BDEA-5833-2CD1B257052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74521" y="4074287"/>
            <a:ext cx="874459" cy="184666"/>
          </a:xfrm>
        </p:spPr>
        <p:txBody>
          <a:bodyPr vert="horz" lIns="0" tIns="0" rIns="0" bIns="0" rtlCol="0" anchor="ctr">
            <a:spAutoFit/>
          </a:bodyPr>
          <a:lstStyle>
            <a:lvl1pPr>
              <a:defRPr lang="ru-RU" sz="1200" b="1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ХХХХ</a:t>
            </a:r>
          </a:p>
        </p:txBody>
      </p:sp>
      <p:sp>
        <p:nvSpPr>
          <p:cNvPr id="53" name="Текст 35">
            <a:extLst>
              <a:ext uri="{FF2B5EF4-FFF2-40B4-BE49-F238E27FC236}">
                <a16:creationId xmlns:a16="http://schemas.microsoft.com/office/drawing/2014/main" id="{3F17A35A-77AC-E11A-81E6-B30BCA558CB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530830" y="4074287"/>
            <a:ext cx="874459" cy="184666"/>
          </a:xfrm>
        </p:spPr>
        <p:txBody>
          <a:bodyPr vert="horz" lIns="0" tIns="0" rIns="0" bIns="0" rtlCol="0" anchor="ctr">
            <a:spAutoFit/>
          </a:bodyPr>
          <a:lstStyle>
            <a:lvl1pPr>
              <a:defRPr lang="ru-RU" sz="1200" b="1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ХХХХ</a:t>
            </a:r>
          </a:p>
        </p:txBody>
      </p:sp>
      <p:sp>
        <p:nvSpPr>
          <p:cNvPr id="54" name="Oval 19">
            <a:extLst>
              <a:ext uri="{FF2B5EF4-FFF2-40B4-BE49-F238E27FC236}">
                <a16:creationId xmlns:a16="http://schemas.microsoft.com/office/drawing/2014/main" id="{183D8C79-075A-51CE-5408-CCB5C7B31EF5}"/>
              </a:ext>
            </a:extLst>
          </p:cNvPr>
          <p:cNvSpPr>
            <a:spLocks noChangeAspect="1"/>
          </p:cNvSpPr>
          <p:nvPr userDrawn="1"/>
        </p:nvSpPr>
        <p:spPr>
          <a:xfrm>
            <a:off x="1943669" y="4212102"/>
            <a:ext cx="144000" cy="144000"/>
          </a:xfrm>
          <a:prstGeom prst="ellipse">
            <a:avLst/>
          </a:prstGeom>
          <a:solidFill>
            <a:srgbClr val="FFFFFF"/>
          </a:solidFill>
          <a:ln w="28575">
            <a:solidFill>
              <a:srgbClr val="003D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50" dirty="0" err="1">
              <a:latin typeface="+mj-lt"/>
              <a:ea typeface="Arial" charset="0"/>
              <a:cs typeface="Arial" charset="0"/>
            </a:endParaRPr>
          </a:p>
        </p:txBody>
      </p:sp>
      <p:sp>
        <p:nvSpPr>
          <p:cNvPr id="55" name="Oval 19">
            <a:extLst>
              <a:ext uri="{FF2B5EF4-FFF2-40B4-BE49-F238E27FC236}">
                <a16:creationId xmlns:a16="http://schemas.microsoft.com/office/drawing/2014/main" id="{63401A12-0BD8-9387-39F8-EF45B1AA6CFF}"/>
              </a:ext>
            </a:extLst>
          </p:cNvPr>
          <p:cNvSpPr>
            <a:spLocks noChangeAspect="1"/>
          </p:cNvSpPr>
          <p:nvPr userDrawn="1"/>
        </p:nvSpPr>
        <p:spPr>
          <a:xfrm>
            <a:off x="3279141" y="4212102"/>
            <a:ext cx="144000" cy="144000"/>
          </a:xfrm>
          <a:prstGeom prst="ellipse">
            <a:avLst/>
          </a:prstGeom>
          <a:solidFill>
            <a:srgbClr val="FFFFFF"/>
          </a:solidFill>
          <a:ln w="28575">
            <a:solidFill>
              <a:srgbClr val="003D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50" dirty="0" err="1">
              <a:latin typeface="+mj-lt"/>
              <a:ea typeface="Arial" charset="0"/>
              <a:cs typeface="Arial" charset="0"/>
            </a:endParaRPr>
          </a:p>
        </p:txBody>
      </p:sp>
      <p:sp>
        <p:nvSpPr>
          <p:cNvPr id="56" name="Oval 19">
            <a:extLst>
              <a:ext uri="{FF2B5EF4-FFF2-40B4-BE49-F238E27FC236}">
                <a16:creationId xmlns:a16="http://schemas.microsoft.com/office/drawing/2014/main" id="{60A42195-D4D0-F7B1-0236-7C77E3B5D403}"/>
              </a:ext>
            </a:extLst>
          </p:cNvPr>
          <p:cNvSpPr>
            <a:spLocks noChangeAspect="1"/>
          </p:cNvSpPr>
          <p:nvPr userDrawn="1"/>
        </p:nvSpPr>
        <p:spPr>
          <a:xfrm>
            <a:off x="4618590" y="4212102"/>
            <a:ext cx="144000" cy="144000"/>
          </a:xfrm>
          <a:prstGeom prst="ellipse">
            <a:avLst/>
          </a:prstGeom>
          <a:solidFill>
            <a:srgbClr val="FFFFFF"/>
          </a:solidFill>
          <a:ln w="28575">
            <a:solidFill>
              <a:srgbClr val="003D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50" dirty="0" err="1">
              <a:latin typeface="+mj-lt"/>
              <a:ea typeface="Arial" charset="0"/>
              <a:cs typeface="Arial" charset="0"/>
            </a:endParaRPr>
          </a:p>
        </p:txBody>
      </p:sp>
      <p:sp>
        <p:nvSpPr>
          <p:cNvPr id="57" name="Oval 19">
            <a:extLst>
              <a:ext uri="{FF2B5EF4-FFF2-40B4-BE49-F238E27FC236}">
                <a16:creationId xmlns:a16="http://schemas.microsoft.com/office/drawing/2014/main" id="{C02CBA00-8CED-C5A1-7389-324E8069BE06}"/>
              </a:ext>
            </a:extLst>
          </p:cNvPr>
          <p:cNvSpPr>
            <a:spLocks noChangeAspect="1"/>
          </p:cNvSpPr>
          <p:nvPr userDrawn="1"/>
        </p:nvSpPr>
        <p:spPr>
          <a:xfrm>
            <a:off x="5935282" y="4212102"/>
            <a:ext cx="144000" cy="144000"/>
          </a:xfrm>
          <a:prstGeom prst="ellipse">
            <a:avLst/>
          </a:prstGeom>
          <a:solidFill>
            <a:srgbClr val="FFFFFF"/>
          </a:solidFill>
          <a:ln w="28575">
            <a:solidFill>
              <a:srgbClr val="003D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50" dirty="0" err="1">
              <a:latin typeface="+mj-lt"/>
              <a:ea typeface="Arial" charset="0"/>
              <a:cs typeface="Arial" charset="0"/>
            </a:endParaRPr>
          </a:p>
        </p:txBody>
      </p:sp>
      <p:sp>
        <p:nvSpPr>
          <p:cNvPr id="58" name="Oval 19">
            <a:extLst>
              <a:ext uri="{FF2B5EF4-FFF2-40B4-BE49-F238E27FC236}">
                <a16:creationId xmlns:a16="http://schemas.microsoft.com/office/drawing/2014/main" id="{CE253983-7831-DA9F-7F5B-558BD4D5C65E}"/>
              </a:ext>
            </a:extLst>
          </p:cNvPr>
          <p:cNvSpPr>
            <a:spLocks noChangeAspect="1"/>
          </p:cNvSpPr>
          <p:nvPr userDrawn="1"/>
        </p:nvSpPr>
        <p:spPr>
          <a:xfrm>
            <a:off x="7282380" y="4212102"/>
            <a:ext cx="144000" cy="144000"/>
          </a:xfrm>
          <a:prstGeom prst="ellipse">
            <a:avLst/>
          </a:prstGeom>
          <a:solidFill>
            <a:srgbClr val="FFFFFF"/>
          </a:solidFill>
          <a:ln w="28575">
            <a:solidFill>
              <a:srgbClr val="003D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50" dirty="0" err="1">
              <a:latin typeface="+mj-lt"/>
              <a:ea typeface="Arial" charset="0"/>
              <a:cs typeface="Arial" charset="0"/>
            </a:endParaRPr>
          </a:p>
        </p:txBody>
      </p:sp>
      <p:sp>
        <p:nvSpPr>
          <p:cNvPr id="59" name="Oval 19">
            <a:extLst>
              <a:ext uri="{FF2B5EF4-FFF2-40B4-BE49-F238E27FC236}">
                <a16:creationId xmlns:a16="http://schemas.microsoft.com/office/drawing/2014/main" id="{193A8657-83D2-52B9-91CA-5FD9AC9EF393}"/>
              </a:ext>
            </a:extLst>
          </p:cNvPr>
          <p:cNvSpPr>
            <a:spLocks noChangeAspect="1"/>
          </p:cNvSpPr>
          <p:nvPr userDrawn="1"/>
        </p:nvSpPr>
        <p:spPr>
          <a:xfrm>
            <a:off x="618961" y="4212102"/>
            <a:ext cx="144000" cy="144000"/>
          </a:xfrm>
          <a:prstGeom prst="ellipse">
            <a:avLst/>
          </a:prstGeom>
          <a:solidFill>
            <a:srgbClr val="FFFFFF"/>
          </a:solidFill>
          <a:ln w="28575">
            <a:solidFill>
              <a:srgbClr val="003D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50" dirty="0" err="1">
              <a:latin typeface="+mj-lt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1137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Т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Рисунок 6">
            <a:extLst>
              <a:ext uri="{FF2B5EF4-FFF2-40B4-BE49-F238E27FC236}">
                <a16:creationId xmlns:a16="http://schemas.microsoft.com/office/drawing/2014/main" id="{F1CF4178-93C8-C1F7-D0A5-4BD6C7710E0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CCEFAE38-C0B6-E304-F127-C2EA0270CD60}"/>
              </a:ext>
            </a:extLst>
          </p:cNvPr>
          <p:cNvSpPr/>
          <p:nvPr/>
        </p:nvSpPr>
        <p:spPr bwMode="auto">
          <a:xfrm>
            <a:off x="7141688" y="3162317"/>
            <a:ext cx="1470470" cy="1470470"/>
          </a:xfrm>
          <a:prstGeom prst="roundRect">
            <a:avLst>
              <a:gd name="adj" fmla="val 6887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0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9FF93E0A-11E1-8BEA-7A05-D41D1276CAA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3387" y="339725"/>
            <a:ext cx="1447803" cy="275436"/>
          </a:xfrm>
          <a:prstGeom prst="rect">
            <a:avLst/>
          </a:prstGeom>
        </p:spPr>
      </p:pic>
      <p:sp>
        <p:nvSpPr>
          <p:cNvPr id="3" name="Заголовок 8">
            <a:extLst>
              <a:ext uri="{FF2B5EF4-FFF2-40B4-BE49-F238E27FC236}">
                <a16:creationId xmlns:a16="http://schemas.microsoft.com/office/drawing/2014/main" id="{F70E8B82-F545-96EA-ADD4-F000BB339E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628" y="884847"/>
            <a:ext cx="5238396" cy="1093422"/>
          </a:xfrm>
        </p:spPr>
        <p:txBody>
          <a:bodyPr vert="horz"/>
          <a:lstStyle>
            <a:lvl1pPr marL="0" algn="l" defTabSz="77898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ru-RU" sz="4000" b="1" i="0" kern="1200" dirty="0">
                <a:solidFill>
                  <a:srgbClr val="00313C"/>
                </a:solidFill>
                <a:latin typeface="Arial" panose="020B0604020202020204" pitchFamily="34" charset="0"/>
                <a:ea typeface="Roboto SemiBold" pitchFamily="34" charset="-122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в 2 строки</a:t>
            </a:r>
          </a:p>
        </p:txBody>
      </p:sp>
      <p:sp>
        <p:nvSpPr>
          <p:cNvPr id="5" name="Текст 7">
            <a:extLst>
              <a:ext uri="{FF2B5EF4-FFF2-40B4-BE49-F238E27FC236}">
                <a16:creationId xmlns:a16="http://schemas.microsoft.com/office/drawing/2014/main" id="{ACACEC16-1EB2-CBB7-0A2C-E6D2E4B242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5628" y="2172433"/>
            <a:ext cx="5227379" cy="273729"/>
          </a:xfrm>
        </p:spPr>
        <p:txBody>
          <a:bodyPr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sp>
        <p:nvSpPr>
          <p:cNvPr id="6" name="Текст 12">
            <a:extLst>
              <a:ext uri="{FF2B5EF4-FFF2-40B4-BE49-F238E27FC236}">
                <a16:creationId xmlns:a16="http://schemas.microsoft.com/office/drawing/2014/main" id="{19FA34F4-D745-F56A-FC00-1BAAB45A2B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5628" y="3591237"/>
            <a:ext cx="3592522" cy="646331"/>
          </a:xfrm>
          <a:prstGeom prst="rect">
            <a:avLst/>
          </a:prstGeom>
          <a:effectLst/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0" i="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endParaRPr lang="ru-RU" dirty="0"/>
          </a:p>
        </p:txBody>
      </p:sp>
      <p:sp>
        <p:nvSpPr>
          <p:cNvPr id="11" name="Текст 12">
            <a:extLst>
              <a:ext uri="{FF2B5EF4-FFF2-40B4-BE49-F238E27FC236}">
                <a16:creationId xmlns:a16="http://schemas.microsoft.com/office/drawing/2014/main" id="{57BB6E0B-5FE5-FEB4-B2C8-1CBF33AD0EB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5628" y="4686179"/>
            <a:ext cx="3592522" cy="262059"/>
          </a:xfrm>
          <a:prstGeom prst="rect">
            <a:avLst/>
          </a:prstGeom>
          <a:effectLst/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0" baseline="0">
                <a:solidFill>
                  <a:schemeClr val="tx2"/>
                </a:solidFill>
                <a:effectLst/>
              </a:defRPr>
            </a:lvl1pPr>
            <a:lvl3pPr>
              <a:defRPr lang="ru-RU" sz="1400" b="0" i="0" kern="1200" dirty="0">
                <a:solidFill>
                  <a:schemeClr val="accent1"/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3pPr>
          </a:lstStyle>
          <a:p>
            <a:pPr marL="0" lvl="2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ru-RU" dirty="0"/>
              <a:t>Месяц/Год</a:t>
            </a:r>
          </a:p>
        </p:txBody>
      </p:sp>
    </p:spTree>
    <p:extLst>
      <p:ext uri="{BB962C8B-B14F-4D97-AF65-F5344CB8AC3E}">
        <p14:creationId xmlns:p14="http://schemas.microsoft.com/office/powerpoint/2010/main" val="1920597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>
            <a:extLst>
              <a:ext uri="{FF2B5EF4-FFF2-40B4-BE49-F238E27FC236}">
                <a16:creationId xmlns:a16="http://schemas.microsoft.com/office/drawing/2014/main" id="{4035D7F9-F74E-A7CF-F5CF-5C533B11F01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1072604 w 9144000"/>
              <a:gd name="connsiteY0" fmla="*/ 582669 h 5143500"/>
              <a:gd name="connsiteX1" fmla="*/ 1072584 w 9144000"/>
              <a:gd name="connsiteY1" fmla="*/ 582859 h 5143500"/>
              <a:gd name="connsiteX2" fmla="*/ 1072603 w 9144000"/>
              <a:gd name="connsiteY2" fmla="*/ 582669 h 5143500"/>
              <a:gd name="connsiteX3" fmla="*/ 1369198 w 9144000"/>
              <a:gd name="connsiteY3" fmla="*/ 492617 h 5143500"/>
              <a:gd name="connsiteX4" fmla="*/ 1398683 w 9144000"/>
              <a:gd name="connsiteY4" fmla="*/ 492617 h 5143500"/>
              <a:gd name="connsiteX5" fmla="*/ 1393955 w 9144000"/>
              <a:gd name="connsiteY5" fmla="*/ 543661 h 5143500"/>
              <a:gd name="connsiteX6" fmla="*/ 1364780 w 9144000"/>
              <a:gd name="connsiteY6" fmla="*/ 543661 h 5143500"/>
              <a:gd name="connsiteX7" fmla="*/ 1959479 w 9144000"/>
              <a:gd name="connsiteY7" fmla="*/ 399656 h 5143500"/>
              <a:gd name="connsiteX8" fmla="*/ 1988417 w 9144000"/>
              <a:gd name="connsiteY8" fmla="*/ 399981 h 5143500"/>
              <a:gd name="connsiteX9" fmla="*/ 1981589 w 9144000"/>
              <a:gd name="connsiteY9" fmla="*/ 468263 h 5143500"/>
              <a:gd name="connsiteX10" fmla="*/ 1952651 w 9144000"/>
              <a:gd name="connsiteY10" fmla="*/ 468263 h 5143500"/>
              <a:gd name="connsiteX11" fmla="*/ 1114443 w 9144000"/>
              <a:gd name="connsiteY11" fmla="*/ 362788 h 5143500"/>
              <a:gd name="connsiteX12" fmla="*/ 1114210 w 9144000"/>
              <a:gd name="connsiteY12" fmla="*/ 365089 h 5143500"/>
              <a:gd name="connsiteX13" fmla="*/ 1114210 w 9144000"/>
              <a:gd name="connsiteY13" fmla="*/ 365088 h 5143500"/>
              <a:gd name="connsiteX14" fmla="*/ 976557 w 9144000"/>
              <a:gd name="connsiteY14" fmla="*/ 336310 h 5143500"/>
              <a:gd name="connsiteX15" fmla="*/ 952100 w 9144000"/>
              <a:gd name="connsiteY15" fmla="*/ 608940 h 5143500"/>
              <a:gd name="connsiteX16" fmla="*/ 986960 w 9144000"/>
              <a:gd name="connsiteY16" fmla="*/ 608940 h 5143500"/>
              <a:gd name="connsiteX17" fmla="*/ 1040642 w 9144000"/>
              <a:gd name="connsiteY17" fmla="*/ 608940 h 5143500"/>
              <a:gd name="connsiteX18" fmla="*/ 1044511 w 9144000"/>
              <a:gd name="connsiteY18" fmla="*/ 608940 h 5143500"/>
              <a:gd name="connsiteX19" fmla="*/ 1044511 w 9144000"/>
              <a:gd name="connsiteY19" fmla="*/ 608550 h 5143500"/>
              <a:gd name="connsiteX20" fmla="*/ 1047212 w 9144000"/>
              <a:gd name="connsiteY20" fmla="*/ 608278 h 5143500"/>
              <a:gd name="connsiteX21" fmla="*/ 1063693 w 9144000"/>
              <a:gd name="connsiteY21" fmla="*/ 599393 h 5143500"/>
              <a:gd name="connsiteX22" fmla="*/ 1069616 w 9144000"/>
              <a:gd name="connsiteY22" fmla="*/ 590607 h 5143500"/>
              <a:gd name="connsiteX23" fmla="*/ 1070680 w 9144000"/>
              <a:gd name="connsiteY23" fmla="*/ 589030 h 5143500"/>
              <a:gd name="connsiteX24" fmla="*/ 1072579 w 9144000"/>
              <a:gd name="connsiteY24" fmla="*/ 582912 h 5143500"/>
              <a:gd name="connsiteX25" fmla="*/ 1072584 w 9144000"/>
              <a:gd name="connsiteY25" fmla="*/ 582859 h 5143500"/>
              <a:gd name="connsiteX26" fmla="*/ 1109730 w 9144000"/>
              <a:gd name="connsiteY26" fmla="*/ 485878 h 5143500"/>
              <a:gd name="connsiteX27" fmla="*/ 1097365 w 9144000"/>
              <a:gd name="connsiteY27" fmla="*/ 608940 h 5143500"/>
              <a:gd name="connsiteX28" fmla="*/ 1213696 w 9144000"/>
              <a:gd name="connsiteY28" fmla="*/ 608940 h 5143500"/>
              <a:gd name="connsiteX29" fmla="*/ 1238154 w 9144000"/>
              <a:gd name="connsiteY29" fmla="*/ 336310 h 5143500"/>
              <a:gd name="connsiteX30" fmla="*/ 1205981 w 9144000"/>
              <a:gd name="connsiteY30" fmla="*/ 336310 h 5143500"/>
              <a:gd name="connsiteX31" fmla="*/ 1146424 w 9144000"/>
              <a:gd name="connsiteY31" fmla="*/ 336310 h 5143500"/>
              <a:gd name="connsiteX32" fmla="*/ 1142381 w 9144000"/>
              <a:gd name="connsiteY32" fmla="*/ 336310 h 5143500"/>
              <a:gd name="connsiteX33" fmla="*/ 1142381 w 9144000"/>
              <a:gd name="connsiteY33" fmla="*/ 336717 h 5143500"/>
              <a:gd name="connsiteX34" fmla="*/ 1139854 w 9144000"/>
              <a:gd name="connsiteY34" fmla="*/ 336972 h 5143500"/>
              <a:gd name="connsiteX35" fmla="*/ 1123374 w 9144000"/>
              <a:gd name="connsiteY35" fmla="*/ 345858 h 5143500"/>
              <a:gd name="connsiteX36" fmla="*/ 1116745 w 9144000"/>
              <a:gd name="connsiteY36" fmla="*/ 355689 h 5143500"/>
              <a:gd name="connsiteX37" fmla="*/ 1116388 w 9144000"/>
              <a:gd name="connsiteY37" fmla="*/ 356220 h 5143500"/>
              <a:gd name="connsiteX38" fmla="*/ 1114488 w 9144000"/>
              <a:gd name="connsiteY38" fmla="*/ 362339 h 5143500"/>
              <a:gd name="connsiteX39" fmla="*/ 1114443 w 9144000"/>
              <a:gd name="connsiteY39" fmla="*/ 362788 h 5143500"/>
              <a:gd name="connsiteX40" fmla="*/ 1077630 w 9144000"/>
              <a:gd name="connsiteY40" fmla="*/ 476280 h 5143500"/>
              <a:gd name="connsiteX41" fmla="*/ 1092415 w 9144000"/>
              <a:gd name="connsiteY41" fmla="*/ 336310 h 5143500"/>
              <a:gd name="connsiteX42" fmla="*/ 715068 w 9144000"/>
              <a:gd name="connsiteY42" fmla="*/ 336310 h 5143500"/>
              <a:gd name="connsiteX43" fmla="*/ 685031 w 9144000"/>
              <a:gd name="connsiteY43" fmla="*/ 356220 h 5143500"/>
              <a:gd name="connsiteX44" fmla="*/ 683600 w 9144000"/>
              <a:gd name="connsiteY44" fmla="*/ 360829 h 5143500"/>
              <a:gd name="connsiteX45" fmla="*/ 682668 w 9144000"/>
              <a:gd name="connsiteY45" fmla="*/ 370886 h 5143500"/>
              <a:gd name="connsiteX46" fmla="*/ 682669 w 9144000"/>
              <a:gd name="connsiteY46" fmla="*/ 370887 h 5143500"/>
              <a:gd name="connsiteX47" fmla="*/ 663648 w 9144000"/>
              <a:gd name="connsiteY47" fmla="*/ 576234 h 5143500"/>
              <a:gd name="connsiteX48" fmla="*/ 663574 w 9144000"/>
              <a:gd name="connsiteY48" fmla="*/ 577024 h 5143500"/>
              <a:gd name="connsiteX49" fmla="*/ 664233 w 9144000"/>
              <a:gd name="connsiteY49" fmla="*/ 583561 h 5143500"/>
              <a:gd name="connsiteX50" fmla="*/ 689600 w 9144000"/>
              <a:gd name="connsiteY50" fmla="*/ 608928 h 5143500"/>
              <a:gd name="connsiteX51" fmla="*/ 689718 w 9144000"/>
              <a:gd name="connsiteY51" fmla="*/ 608940 h 5143500"/>
              <a:gd name="connsiteX52" fmla="*/ 702621 w 9144000"/>
              <a:gd name="connsiteY52" fmla="*/ 608940 h 5143500"/>
              <a:gd name="connsiteX53" fmla="*/ 887067 w 9144000"/>
              <a:gd name="connsiteY53" fmla="*/ 608940 h 5143500"/>
              <a:gd name="connsiteX54" fmla="*/ 887068 w 9144000"/>
              <a:gd name="connsiteY54" fmla="*/ 608940 h 5143500"/>
              <a:gd name="connsiteX55" fmla="*/ 899969 w 9144000"/>
              <a:gd name="connsiteY55" fmla="*/ 608940 h 5143500"/>
              <a:gd name="connsiteX56" fmla="*/ 900089 w 9144000"/>
              <a:gd name="connsiteY56" fmla="*/ 608928 h 5143500"/>
              <a:gd name="connsiteX57" fmla="*/ 923555 w 9144000"/>
              <a:gd name="connsiteY57" fmla="*/ 589681 h 5143500"/>
              <a:gd name="connsiteX58" fmla="*/ 924532 w 9144000"/>
              <a:gd name="connsiteY58" fmla="*/ 586533 h 5143500"/>
              <a:gd name="connsiteX59" fmla="*/ 925519 w 9144000"/>
              <a:gd name="connsiteY59" fmla="*/ 575886 h 5143500"/>
              <a:gd name="connsiteX60" fmla="*/ 925831 w 9144000"/>
              <a:gd name="connsiteY60" fmla="*/ 575886 h 5143500"/>
              <a:gd name="connsiteX61" fmla="*/ 925831 w 9144000"/>
              <a:gd name="connsiteY61" fmla="*/ 572515 h 5143500"/>
              <a:gd name="connsiteX62" fmla="*/ 933801 w 9144000"/>
              <a:gd name="connsiteY62" fmla="*/ 486470 h 5143500"/>
              <a:gd name="connsiteX63" fmla="*/ 817697 w 9144000"/>
              <a:gd name="connsiteY63" fmla="*/ 486470 h 5143500"/>
              <a:gd name="connsiteX64" fmla="*/ 812399 w 9144000"/>
              <a:gd name="connsiteY64" fmla="*/ 543661 h 5143500"/>
              <a:gd name="connsiteX65" fmla="*/ 782356 w 9144000"/>
              <a:gd name="connsiteY65" fmla="*/ 543661 h 5143500"/>
              <a:gd name="connsiteX66" fmla="*/ 795564 w 9144000"/>
              <a:gd name="connsiteY66" fmla="*/ 401073 h 5143500"/>
              <a:gd name="connsiteX67" fmla="*/ 825607 w 9144000"/>
              <a:gd name="connsiteY67" fmla="*/ 401073 h 5143500"/>
              <a:gd name="connsiteX68" fmla="*/ 820739 w 9144000"/>
              <a:gd name="connsiteY68" fmla="*/ 453631 h 5143500"/>
              <a:gd name="connsiteX69" fmla="*/ 936843 w 9144000"/>
              <a:gd name="connsiteY69" fmla="*/ 453631 h 5143500"/>
              <a:gd name="connsiteX70" fmla="*/ 943979 w 9144000"/>
              <a:gd name="connsiteY70" fmla="*/ 376599 h 5143500"/>
              <a:gd name="connsiteX71" fmla="*/ 944919 w 9144000"/>
              <a:gd name="connsiteY71" fmla="*/ 366447 h 5143500"/>
              <a:gd name="connsiteX72" fmla="*/ 944462 w 9144000"/>
              <a:gd name="connsiteY72" fmla="*/ 361905 h 5143500"/>
              <a:gd name="connsiteX73" fmla="*/ 919095 w 9144000"/>
              <a:gd name="connsiteY73" fmla="*/ 336538 h 5143500"/>
              <a:gd name="connsiteX74" fmla="*/ 916825 w 9144000"/>
              <a:gd name="connsiteY74" fmla="*/ 336310 h 5143500"/>
              <a:gd name="connsiteX75" fmla="*/ 908224 w 9144000"/>
              <a:gd name="connsiteY75" fmla="*/ 336310 h 5143500"/>
              <a:gd name="connsiteX76" fmla="*/ 1818985 w 9144000"/>
              <a:gd name="connsiteY76" fmla="*/ 336280 h 5143500"/>
              <a:gd name="connsiteX77" fmla="*/ 1703832 w 9144000"/>
              <a:gd name="connsiteY77" fmla="*/ 336294 h 5143500"/>
              <a:gd name="connsiteX78" fmla="*/ 1692459 w 9144000"/>
              <a:gd name="connsiteY78" fmla="*/ 460889 h 5143500"/>
              <a:gd name="connsiteX79" fmla="*/ 1663495 w 9144000"/>
              <a:gd name="connsiteY79" fmla="*/ 460456 h 5143500"/>
              <a:gd name="connsiteX80" fmla="*/ 1674348 w 9144000"/>
              <a:gd name="connsiteY80" fmla="*/ 336296 h 5143500"/>
              <a:gd name="connsiteX81" fmla="*/ 1557673 w 9144000"/>
              <a:gd name="connsiteY81" fmla="*/ 336310 h 5143500"/>
              <a:gd name="connsiteX82" fmla="*/ 1545183 w 9144000"/>
              <a:gd name="connsiteY82" fmla="*/ 477578 h 5143500"/>
              <a:gd name="connsiteX83" fmla="*/ 1544330 w 9144000"/>
              <a:gd name="connsiteY83" fmla="*/ 487217 h 5143500"/>
              <a:gd name="connsiteX84" fmla="*/ 1544805 w 9144000"/>
              <a:gd name="connsiteY84" fmla="*/ 491932 h 5143500"/>
              <a:gd name="connsiteX85" fmla="*/ 1564053 w 9144000"/>
              <a:gd name="connsiteY85" fmla="*/ 515399 h 5143500"/>
              <a:gd name="connsiteX86" fmla="*/ 1569502 w 9144000"/>
              <a:gd name="connsiteY86" fmla="*/ 517091 h 5143500"/>
              <a:gd name="connsiteX87" fmla="*/ 1583887 w 9144000"/>
              <a:gd name="connsiteY87" fmla="*/ 517120 h 5143500"/>
              <a:gd name="connsiteX88" fmla="*/ 1686932 w 9144000"/>
              <a:gd name="connsiteY88" fmla="*/ 517328 h 5143500"/>
              <a:gd name="connsiteX89" fmla="*/ 1684804 w 9144000"/>
              <a:gd name="connsiteY89" fmla="*/ 544527 h 5143500"/>
              <a:gd name="connsiteX90" fmla="*/ 1539278 w 9144000"/>
              <a:gd name="connsiteY90" fmla="*/ 544347 h 5143500"/>
              <a:gd name="connsiteX91" fmla="*/ 1533567 w 9144000"/>
              <a:gd name="connsiteY91" fmla="*/ 608940 h 5143500"/>
              <a:gd name="connsiteX92" fmla="*/ 1759039 w 9144000"/>
              <a:gd name="connsiteY92" fmla="*/ 608940 h 5143500"/>
              <a:gd name="connsiteX93" fmla="*/ 1759040 w 9144000"/>
              <a:gd name="connsiteY93" fmla="*/ 608940 h 5143500"/>
              <a:gd name="connsiteX94" fmla="*/ 1771942 w 9144000"/>
              <a:gd name="connsiteY94" fmla="*/ 608940 h 5143500"/>
              <a:gd name="connsiteX95" fmla="*/ 1772060 w 9144000"/>
              <a:gd name="connsiteY95" fmla="*/ 608928 h 5143500"/>
              <a:gd name="connsiteX96" fmla="*/ 1795528 w 9144000"/>
              <a:gd name="connsiteY96" fmla="*/ 589681 h 5143500"/>
              <a:gd name="connsiteX97" fmla="*/ 1796504 w 9144000"/>
              <a:gd name="connsiteY97" fmla="*/ 586533 h 5143500"/>
              <a:gd name="connsiteX98" fmla="*/ 1797490 w 9144000"/>
              <a:gd name="connsiteY98" fmla="*/ 575886 h 5143500"/>
              <a:gd name="connsiteX99" fmla="*/ 1797803 w 9144000"/>
              <a:gd name="connsiteY99" fmla="*/ 575886 h 5143500"/>
              <a:gd name="connsiteX100" fmla="*/ 1797803 w 9144000"/>
              <a:gd name="connsiteY100" fmla="*/ 572515 h 5143500"/>
              <a:gd name="connsiteX101" fmla="*/ 1528570 w 9144000"/>
              <a:gd name="connsiteY101" fmla="*/ 336280 h 5143500"/>
              <a:gd name="connsiteX102" fmla="*/ 1267258 w 9144000"/>
              <a:gd name="connsiteY102" fmla="*/ 336310 h 5143500"/>
              <a:gd name="connsiteX103" fmla="*/ 1243152 w 9144000"/>
              <a:gd name="connsiteY103" fmla="*/ 608940 h 5143500"/>
              <a:gd name="connsiteX104" fmla="*/ 1468623 w 9144000"/>
              <a:gd name="connsiteY104" fmla="*/ 608940 h 5143500"/>
              <a:gd name="connsiteX105" fmla="*/ 1468624 w 9144000"/>
              <a:gd name="connsiteY105" fmla="*/ 608940 h 5143500"/>
              <a:gd name="connsiteX106" fmla="*/ 1481527 w 9144000"/>
              <a:gd name="connsiteY106" fmla="*/ 608940 h 5143500"/>
              <a:gd name="connsiteX107" fmla="*/ 1481645 w 9144000"/>
              <a:gd name="connsiteY107" fmla="*/ 608928 h 5143500"/>
              <a:gd name="connsiteX108" fmla="*/ 1505112 w 9144000"/>
              <a:gd name="connsiteY108" fmla="*/ 589681 h 5143500"/>
              <a:gd name="connsiteX109" fmla="*/ 1506089 w 9144000"/>
              <a:gd name="connsiteY109" fmla="*/ 586533 h 5143500"/>
              <a:gd name="connsiteX110" fmla="*/ 1507075 w 9144000"/>
              <a:gd name="connsiteY110" fmla="*/ 575886 h 5143500"/>
              <a:gd name="connsiteX111" fmla="*/ 1507387 w 9144000"/>
              <a:gd name="connsiteY111" fmla="*/ 575886 h 5143500"/>
              <a:gd name="connsiteX112" fmla="*/ 1507387 w 9144000"/>
              <a:gd name="connsiteY112" fmla="*/ 572515 h 5143500"/>
              <a:gd name="connsiteX113" fmla="*/ 1513926 w 9144000"/>
              <a:gd name="connsiteY113" fmla="*/ 501930 h 5143500"/>
              <a:gd name="connsiteX114" fmla="*/ 1514182 w 9144000"/>
              <a:gd name="connsiteY114" fmla="*/ 501930 h 5143500"/>
              <a:gd name="connsiteX115" fmla="*/ 1517312 w 9144000"/>
              <a:gd name="connsiteY115" fmla="*/ 468143 h 5143500"/>
              <a:gd name="connsiteX116" fmla="*/ 1518253 w 9144000"/>
              <a:gd name="connsiteY116" fmla="*/ 457991 h 5143500"/>
              <a:gd name="connsiteX117" fmla="*/ 1517795 w 9144000"/>
              <a:gd name="connsiteY117" fmla="*/ 453449 h 5143500"/>
              <a:gd name="connsiteX118" fmla="*/ 1492428 w 9144000"/>
              <a:gd name="connsiteY118" fmla="*/ 428082 h 5143500"/>
              <a:gd name="connsiteX119" fmla="*/ 1490159 w 9144000"/>
              <a:gd name="connsiteY119" fmla="*/ 427853 h 5143500"/>
              <a:gd name="connsiteX120" fmla="*/ 1481557 w 9144000"/>
              <a:gd name="connsiteY120" fmla="*/ 427853 h 5143500"/>
              <a:gd name="connsiteX121" fmla="*/ 1374802 w 9144000"/>
              <a:gd name="connsiteY121" fmla="*/ 427853 h 5143500"/>
              <a:gd name="connsiteX122" fmla="*/ 1377120 w 9144000"/>
              <a:gd name="connsiteY122" fmla="*/ 401073 h 5143500"/>
              <a:gd name="connsiteX123" fmla="*/ 1523169 w 9144000"/>
              <a:gd name="connsiteY123" fmla="*/ 400740 h 5143500"/>
              <a:gd name="connsiteX124" fmla="*/ 1848535 w 9144000"/>
              <a:gd name="connsiteY124" fmla="*/ 335659 h 5143500"/>
              <a:gd name="connsiteX125" fmla="*/ 1832109 w 9144000"/>
              <a:gd name="connsiteY125" fmla="*/ 524134 h 5143500"/>
              <a:gd name="connsiteX126" fmla="*/ 1824724 w 9144000"/>
              <a:gd name="connsiteY126" fmla="*/ 608874 h 5143500"/>
              <a:gd name="connsiteX127" fmla="*/ 1940556 w 9144000"/>
              <a:gd name="connsiteY127" fmla="*/ 608940 h 5143500"/>
              <a:gd name="connsiteX128" fmla="*/ 1947847 w 9144000"/>
              <a:gd name="connsiteY128" fmla="*/ 524134 h 5143500"/>
              <a:gd name="connsiteX129" fmla="*/ 2057502 w 9144000"/>
              <a:gd name="connsiteY129" fmla="*/ 524134 h 5143500"/>
              <a:gd name="connsiteX130" fmla="*/ 2057503 w 9144000"/>
              <a:gd name="connsiteY130" fmla="*/ 524134 h 5143500"/>
              <a:gd name="connsiteX131" fmla="*/ 2070416 w 9144000"/>
              <a:gd name="connsiteY131" fmla="*/ 524134 h 5143500"/>
              <a:gd name="connsiteX132" fmla="*/ 2070534 w 9144000"/>
              <a:gd name="connsiteY132" fmla="*/ 524121 h 5143500"/>
              <a:gd name="connsiteX133" fmla="*/ 2094022 w 9144000"/>
              <a:gd name="connsiteY133" fmla="*/ 504174 h 5143500"/>
              <a:gd name="connsiteX134" fmla="*/ 2095000 w 9144000"/>
              <a:gd name="connsiteY134" fmla="*/ 500912 h 5143500"/>
              <a:gd name="connsiteX135" fmla="*/ 2095987 w 9144000"/>
              <a:gd name="connsiteY135" fmla="*/ 489878 h 5143500"/>
              <a:gd name="connsiteX136" fmla="*/ 2096299 w 9144000"/>
              <a:gd name="connsiteY136" fmla="*/ 489878 h 5143500"/>
              <a:gd name="connsiteX137" fmla="*/ 2096299 w 9144000"/>
              <a:gd name="connsiteY137" fmla="*/ 486384 h 5143500"/>
              <a:gd name="connsiteX138" fmla="*/ 2102845 w 9144000"/>
              <a:gd name="connsiteY138" fmla="*/ 413232 h 5143500"/>
              <a:gd name="connsiteX139" fmla="*/ 2103101 w 9144000"/>
              <a:gd name="connsiteY139" fmla="*/ 413232 h 5143500"/>
              <a:gd name="connsiteX140" fmla="*/ 2104495 w 9144000"/>
              <a:gd name="connsiteY140" fmla="*/ 397641 h 5143500"/>
              <a:gd name="connsiteX141" fmla="*/ 2104496 w 9144000"/>
              <a:gd name="connsiteY141" fmla="*/ 397641 h 5143500"/>
              <a:gd name="connsiteX142" fmla="*/ 2106233 w 9144000"/>
              <a:gd name="connsiteY142" fmla="*/ 378216 h 5143500"/>
              <a:gd name="connsiteX143" fmla="*/ 2107174 w 9144000"/>
              <a:gd name="connsiteY143" fmla="*/ 367696 h 5143500"/>
              <a:gd name="connsiteX144" fmla="*/ 2106716 w 9144000"/>
              <a:gd name="connsiteY144" fmla="*/ 362989 h 5143500"/>
              <a:gd name="connsiteX145" fmla="*/ 2081327 w 9144000"/>
              <a:gd name="connsiteY145" fmla="*/ 336700 h 5143500"/>
              <a:gd name="connsiteX146" fmla="*/ 2079056 w 9144000"/>
              <a:gd name="connsiteY146" fmla="*/ 336462 h 5143500"/>
              <a:gd name="connsiteX147" fmla="*/ 2070447 w 9144000"/>
              <a:gd name="connsiteY147" fmla="*/ 336462 h 5143500"/>
              <a:gd name="connsiteX148" fmla="*/ 1963600 w 9144000"/>
              <a:gd name="connsiteY148" fmla="*/ 336462 h 5143500"/>
              <a:gd name="connsiteX149" fmla="*/ 1963666 w 9144000"/>
              <a:gd name="connsiteY149" fmla="*/ 335659 h 5143500"/>
              <a:gd name="connsiteX150" fmla="*/ 0 w 9144000"/>
              <a:gd name="connsiteY150" fmla="*/ 0 h 5143500"/>
              <a:gd name="connsiteX151" fmla="*/ 9144000 w 9144000"/>
              <a:gd name="connsiteY151" fmla="*/ 0 h 5143500"/>
              <a:gd name="connsiteX152" fmla="*/ 9144000 w 9144000"/>
              <a:gd name="connsiteY152" fmla="*/ 5143500 h 5143500"/>
              <a:gd name="connsiteX153" fmla="*/ 0 w 9144000"/>
              <a:gd name="connsiteY15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9144000" h="5143500">
                <a:moveTo>
                  <a:pt x="1072604" y="582669"/>
                </a:moveTo>
                <a:lnTo>
                  <a:pt x="1072584" y="582859"/>
                </a:lnTo>
                <a:lnTo>
                  <a:pt x="1072603" y="582669"/>
                </a:lnTo>
                <a:close/>
                <a:moveTo>
                  <a:pt x="1369198" y="492617"/>
                </a:moveTo>
                <a:lnTo>
                  <a:pt x="1398683" y="492617"/>
                </a:lnTo>
                <a:lnTo>
                  <a:pt x="1393955" y="543661"/>
                </a:lnTo>
                <a:lnTo>
                  <a:pt x="1364780" y="543661"/>
                </a:lnTo>
                <a:close/>
                <a:moveTo>
                  <a:pt x="1959479" y="399656"/>
                </a:moveTo>
                <a:lnTo>
                  <a:pt x="1988417" y="399981"/>
                </a:lnTo>
                <a:lnTo>
                  <a:pt x="1981589" y="468263"/>
                </a:lnTo>
                <a:lnTo>
                  <a:pt x="1952651" y="468263"/>
                </a:lnTo>
                <a:close/>
                <a:moveTo>
                  <a:pt x="1114443" y="362788"/>
                </a:moveTo>
                <a:lnTo>
                  <a:pt x="1114210" y="365089"/>
                </a:lnTo>
                <a:lnTo>
                  <a:pt x="1114210" y="365088"/>
                </a:lnTo>
                <a:close/>
                <a:moveTo>
                  <a:pt x="976557" y="336310"/>
                </a:moveTo>
                <a:lnTo>
                  <a:pt x="952100" y="608940"/>
                </a:lnTo>
                <a:lnTo>
                  <a:pt x="986960" y="608940"/>
                </a:lnTo>
                <a:lnTo>
                  <a:pt x="1040642" y="608940"/>
                </a:lnTo>
                <a:lnTo>
                  <a:pt x="1044511" y="608940"/>
                </a:lnTo>
                <a:lnTo>
                  <a:pt x="1044511" y="608550"/>
                </a:lnTo>
                <a:lnTo>
                  <a:pt x="1047212" y="608278"/>
                </a:lnTo>
                <a:cubicBezTo>
                  <a:pt x="1053578" y="606976"/>
                  <a:pt x="1059268" y="603817"/>
                  <a:pt x="1063693" y="599393"/>
                </a:cubicBezTo>
                <a:lnTo>
                  <a:pt x="1069616" y="590607"/>
                </a:lnTo>
                <a:lnTo>
                  <a:pt x="1070680" y="589030"/>
                </a:lnTo>
                <a:cubicBezTo>
                  <a:pt x="1071504" y="587080"/>
                  <a:pt x="1072145" y="585034"/>
                  <a:pt x="1072579" y="582912"/>
                </a:cubicBezTo>
                <a:lnTo>
                  <a:pt x="1072584" y="582859"/>
                </a:lnTo>
                <a:lnTo>
                  <a:pt x="1109730" y="485878"/>
                </a:lnTo>
                <a:lnTo>
                  <a:pt x="1097365" y="608940"/>
                </a:lnTo>
                <a:lnTo>
                  <a:pt x="1213696" y="608940"/>
                </a:lnTo>
                <a:lnTo>
                  <a:pt x="1238154" y="336310"/>
                </a:lnTo>
                <a:lnTo>
                  <a:pt x="1205981" y="336310"/>
                </a:lnTo>
                <a:lnTo>
                  <a:pt x="1146424" y="336310"/>
                </a:lnTo>
                <a:lnTo>
                  <a:pt x="1142381" y="336310"/>
                </a:lnTo>
                <a:lnTo>
                  <a:pt x="1142381" y="336717"/>
                </a:lnTo>
                <a:lnTo>
                  <a:pt x="1139854" y="336972"/>
                </a:lnTo>
                <a:cubicBezTo>
                  <a:pt x="1133488" y="338275"/>
                  <a:pt x="1127798" y="341434"/>
                  <a:pt x="1123374" y="345858"/>
                </a:cubicBezTo>
                <a:lnTo>
                  <a:pt x="1116745" y="355689"/>
                </a:lnTo>
                <a:lnTo>
                  <a:pt x="1116388" y="356220"/>
                </a:lnTo>
                <a:cubicBezTo>
                  <a:pt x="1115562" y="358170"/>
                  <a:pt x="1114922" y="360217"/>
                  <a:pt x="1114488" y="362339"/>
                </a:cubicBezTo>
                <a:lnTo>
                  <a:pt x="1114443" y="362788"/>
                </a:lnTo>
                <a:lnTo>
                  <a:pt x="1077630" y="476280"/>
                </a:lnTo>
                <a:lnTo>
                  <a:pt x="1092415" y="336310"/>
                </a:lnTo>
                <a:close/>
                <a:moveTo>
                  <a:pt x="715068" y="336310"/>
                </a:moveTo>
                <a:cubicBezTo>
                  <a:pt x="701565" y="336310"/>
                  <a:pt x="689980" y="344520"/>
                  <a:pt x="685031" y="356220"/>
                </a:cubicBezTo>
                <a:lnTo>
                  <a:pt x="683600" y="360829"/>
                </a:lnTo>
                <a:lnTo>
                  <a:pt x="682668" y="370886"/>
                </a:lnTo>
                <a:cubicBezTo>
                  <a:pt x="682668" y="370887"/>
                  <a:pt x="682669" y="370887"/>
                  <a:pt x="682669" y="370887"/>
                </a:cubicBezTo>
                <a:lnTo>
                  <a:pt x="663648" y="576234"/>
                </a:lnTo>
                <a:lnTo>
                  <a:pt x="663574" y="577024"/>
                </a:lnTo>
                <a:lnTo>
                  <a:pt x="664233" y="583561"/>
                </a:lnTo>
                <a:cubicBezTo>
                  <a:pt x="666839" y="596294"/>
                  <a:pt x="676867" y="606322"/>
                  <a:pt x="689600" y="608928"/>
                </a:cubicBezTo>
                <a:lnTo>
                  <a:pt x="689718" y="608940"/>
                </a:lnTo>
                <a:lnTo>
                  <a:pt x="702621" y="608940"/>
                </a:lnTo>
                <a:lnTo>
                  <a:pt x="887067" y="608940"/>
                </a:lnTo>
                <a:lnTo>
                  <a:pt x="887068" y="608940"/>
                </a:lnTo>
                <a:lnTo>
                  <a:pt x="899969" y="608940"/>
                </a:lnTo>
                <a:lnTo>
                  <a:pt x="900089" y="608928"/>
                </a:lnTo>
                <a:cubicBezTo>
                  <a:pt x="910699" y="606757"/>
                  <a:pt x="919431" y="599431"/>
                  <a:pt x="923555" y="589681"/>
                </a:cubicBezTo>
                <a:lnTo>
                  <a:pt x="924532" y="586533"/>
                </a:lnTo>
                <a:lnTo>
                  <a:pt x="925519" y="575886"/>
                </a:lnTo>
                <a:lnTo>
                  <a:pt x="925831" y="575886"/>
                </a:lnTo>
                <a:lnTo>
                  <a:pt x="925831" y="572515"/>
                </a:lnTo>
                <a:lnTo>
                  <a:pt x="933801" y="486470"/>
                </a:lnTo>
                <a:lnTo>
                  <a:pt x="817697" y="486470"/>
                </a:lnTo>
                <a:lnTo>
                  <a:pt x="812399" y="543661"/>
                </a:lnTo>
                <a:lnTo>
                  <a:pt x="782356" y="543661"/>
                </a:lnTo>
                <a:lnTo>
                  <a:pt x="795564" y="401073"/>
                </a:lnTo>
                <a:lnTo>
                  <a:pt x="825607" y="401073"/>
                </a:lnTo>
                <a:lnTo>
                  <a:pt x="820739" y="453631"/>
                </a:lnTo>
                <a:lnTo>
                  <a:pt x="936843" y="453631"/>
                </a:lnTo>
                <a:lnTo>
                  <a:pt x="943979" y="376599"/>
                </a:lnTo>
                <a:lnTo>
                  <a:pt x="944919" y="366447"/>
                </a:lnTo>
                <a:lnTo>
                  <a:pt x="944462" y="361905"/>
                </a:lnTo>
                <a:cubicBezTo>
                  <a:pt x="941856" y="349173"/>
                  <a:pt x="931827" y="339144"/>
                  <a:pt x="919095" y="336538"/>
                </a:cubicBezTo>
                <a:lnTo>
                  <a:pt x="916825" y="336310"/>
                </a:lnTo>
                <a:lnTo>
                  <a:pt x="908224" y="336310"/>
                </a:lnTo>
                <a:close/>
                <a:moveTo>
                  <a:pt x="1818985" y="336280"/>
                </a:moveTo>
                <a:lnTo>
                  <a:pt x="1703832" y="336294"/>
                </a:lnTo>
                <a:lnTo>
                  <a:pt x="1692459" y="460889"/>
                </a:lnTo>
                <a:lnTo>
                  <a:pt x="1663495" y="460456"/>
                </a:lnTo>
                <a:lnTo>
                  <a:pt x="1674348" y="336296"/>
                </a:lnTo>
                <a:lnTo>
                  <a:pt x="1557673" y="336310"/>
                </a:lnTo>
                <a:lnTo>
                  <a:pt x="1545183" y="477578"/>
                </a:lnTo>
                <a:lnTo>
                  <a:pt x="1544330" y="487217"/>
                </a:lnTo>
                <a:lnTo>
                  <a:pt x="1544805" y="491932"/>
                </a:lnTo>
                <a:cubicBezTo>
                  <a:pt x="1546977" y="502542"/>
                  <a:pt x="1554303" y="511275"/>
                  <a:pt x="1564053" y="515399"/>
                </a:cubicBezTo>
                <a:lnTo>
                  <a:pt x="1569502" y="517091"/>
                </a:lnTo>
                <a:lnTo>
                  <a:pt x="1583887" y="517120"/>
                </a:lnTo>
                <a:lnTo>
                  <a:pt x="1686932" y="517328"/>
                </a:lnTo>
                <a:lnTo>
                  <a:pt x="1684804" y="544527"/>
                </a:lnTo>
                <a:lnTo>
                  <a:pt x="1539278" y="544347"/>
                </a:lnTo>
                <a:lnTo>
                  <a:pt x="1533567" y="608940"/>
                </a:lnTo>
                <a:lnTo>
                  <a:pt x="1759039" y="608940"/>
                </a:lnTo>
                <a:lnTo>
                  <a:pt x="1759040" y="608940"/>
                </a:lnTo>
                <a:lnTo>
                  <a:pt x="1771942" y="608940"/>
                </a:lnTo>
                <a:lnTo>
                  <a:pt x="1772060" y="608928"/>
                </a:lnTo>
                <a:cubicBezTo>
                  <a:pt x="1782671" y="606757"/>
                  <a:pt x="1791403" y="599431"/>
                  <a:pt x="1795528" y="589681"/>
                </a:cubicBezTo>
                <a:lnTo>
                  <a:pt x="1796504" y="586533"/>
                </a:lnTo>
                <a:lnTo>
                  <a:pt x="1797490" y="575886"/>
                </a:lnTo>
                <a:lnTo>
                  <a:pt x="1797803" y="575886"/>
                </a:lnTo>
                <a:lnTo>
                  <a:pt x="1797803" y="572515"/>
                </a:lnTo>
                <a:close/>
                <a:moveTo>
                  <a:pt x="1528570" y="336280"/>
                </a:moveTo>
                <a:lnTo>
                  <a:pt x="1267258" y="336310"/>
                </a:lnTo>
                <a:lnTo>
                  <a:pt x="1243152" y="608940"/>
                </a:lnTo>
                <a:lnTo>
                  <a:pt x="1468623" y="608940"/>
                </a:lnTo>
                <a:lnTo>
                  <a:pt x="1468624" y="608940"/>
                </a:lnTo>
                <a:lnTo>
                  <a:pt x="1481527" y="608940"/>
                </a:lnTo>
                <a:lnTo>
                  <a:pt x="1481645" y="608928"/>
                </a:lnTo>
                <a:cubicBezTo>
                  <a:pt x="1492255" y="606757"/>
                  <a:pt x="1500988" y="599431"/>
                  <a:pt x="1505112" y="589681"/>
                </a:cubicBezTo>
                <a:lnTo>
                  <a:pt x="1506089" y="586533"/>
                </a:lnTo>
                <a:lnTo>
                  <a:pt x="1507075" y="575886"/>
                </a:lnTo>
                <a:lnTo>
                  <a:pt x="1507387" y="575886"/>
                </a:lnTo>
                <a:lnTo>
                  <a:pt x="1507387" y="572515"/>
                </a:lnTo>
                <a:lnTo>
                  <a:pt x="1513926" y="501930"/>
                </a:lnTo>
                <a:lnTo>
                  <a:pt x="1514182" y="501930"/>
                </a:lnTo>
                <a:lnTo>
                  <a:pt x="1517312" y="468143"/>
                </a:lnTo>
                <a:lnTo>
                  <a:pt x="1518253" y="457991"/>
                </a:lnTo>
                <a:lnTo>
                  <a:pt x="1517795" y="453449"/>
                </a:lnTo>
                <a:cubicBezTo>
                  <a:pt x="1515189" y="440716"/>
                  <a:pt x="1505161" y="430688"/>
                  <a:pt x="1492428" y="428082"/>
                </a:cubicBezTo>
                <a:lnTo>
                  <a:pt x="1490159" y="427853"/>
                </a:lnTo>
                <a:lnTo>
                  <a:pt x="1481557" y="427853"/>
                </a:lnTo>
                <a:lnTo>
                  <a:pt x="1374802" y="427853"/>
                </a:lnTo>
                <a:lnTo>
                  <a:pt x="1377120" y="401073"/>
                </a:lnTo>
                <a:lnTo>
                  <a:pt x="1523169" y="400740"/>
                </a:lnTo>
                <a:close/>
                <a:moveTo>
                  <a:pt x="1848535" y="335659"/>
                </a:moveTo>
                <a:lnTo>
                  <a:pt x="1832109" y="524134"/>
                </a:lnTo>
                <a:lnTo>
                  <a:pt x="1824724" y="608874"/>
                </a:lnTo>
                <a:lnTo>
                  <a:pt x="1940556" y="608940"/>
                </a:lnTo>
                <a:lnTo>
                  <a:pt x="1947847" y="524134"/>
                </a:lnTo>
                <a:lnTo>
                  <a:pt x="2057502" y="524134"/>
                </a:lnTo>
                <a:lnTo>
                  <a:pt x="2057503" y="524134"/>
                </a:lnTo>
                <a:lnTo>
                  <a:pt x="2070416" y="524134"/>
                </a:lnTo>
                <a:lnTo>
                  <a:pt x="2070534" y="524121"/>
                </a:lnTo>
                <a:cubicBezTo>
                  <a:pt x="2081154" y="521871"/>
                  <a:pt x="2089895" y="514279"/>
                  <a:pt x="2094022" y="504174"/>
                </a:cubicBezTo>
                <a:lnTo>
                  <a:pt x="2095000" y="500912"/>
                </a:lnTo>
                <a:lnTo>
                  <a:pt x="2095987" y="489878"/>
                </a:lnTo>
                <a:lnTo>
                  <a:pt x="2096299" y="489878"/>
                </a:lnTo>
                <a:lnTo>
                  <a:pt x="2096299" y="486384"/>
                </a:lnTo>
                <a:lnTo>
                  <a:pt x="2102845" y="413232"/>
                </a:lnTo>
                <a:lnTo>
                  <a:pt x="2103101" y="413232"/>
                </a:lnTo>
                <a:lnTo>
                  <a:pt x="2104495" y="397641"/>
                </a:lnTo>
                <a:lnTo>
                  <a:pt x="2104496" y="397641"/>
                </a:lnTo>
                <a:lnTo>
                  <a:pt x="2106233" y="378216"/>
                </a:lnTo>
                <a:lnTo>
                  <a:pt x="2107174" y="367696"/>
                </a:lnTo>
                <a:lnTo>
                  <a:pt x="2106716" y="362989"/>
                </a:lnTo>
                <a:cubicBezTo>
                  <a:pt x="2104109" y="349793"/>
                  <a:pt x="2094071" y="339400"/>
                  <a:pt x="2081327" y="336700"/>
                </a:cubicBezTo>
                <a:lnTo>
                  <a:pt x="2079056" y="336462"/>
                </a:lnTo>
                <a:lnTo>
                  <a:pt x="2070447" y="336462"/>
                </a:lnTo>
                <a:lnTo>
                  <a:pt x="1963600" y="336462"/>
                </a:lnTo>
                <a:lnTo>
                  <a:pt x="1963666" y="335659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rgbClr val="77E2C3"/>
              </a:gs>
            </a:gsLst>
            <a:lin ang="13500000" scaled="1"/>
            <a:tileRect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ru-RU" sz="1000" dirty="0"/>
            </a:lvl1pPr>
          </a:lstStyle>
          <a:p>
            <a:pPr lvl="0"/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9606931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10">
            <a:extLst>
              <a:ext uri="{FF2B5EF4-FFF2-40B4-BE49-F238E27FC236}">
                <a16:creationId xmlns:a16="http://schemas.microsoft.com/office/drawing/2014/main" id="{ED65F71C-5FF4-BB99-AF20-389D75106E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2952521"/>
            <a:ext cx="7822200" cy="1894900"/>
          </a:xfrm>
        </p:spPr>
        <p:txBody>
          <a:bodyPr vert="horz" lIns="0" tIns="0" rIns="0" bIns="0" rtlCol="0" anchor="t">
            <a:norm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367105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0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>
            <a:extLst>
              <a:ext uri="{FF2B5EF4-FFF2-40B4-BE49-F238E27FC236}">
                <a16:creationId xmlns:a16="http://schemas.microsoft.com/office/drawing/2014/main" id="{0DA4562C-C97F-D21E-B683-C5D5F7E91BD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1072604 w 9144000"/>
              <a:gd name="connsiteY0" fmla="*/ 582669 h 5143500"/>
              <a:gd name="connsiteX1" fmla="*/ 1072584 w 9144000"/>
              <a:gd name="connsiteY1" fmla="*/ 582859 h 5143500"/>
              <a:gd name="connsiteX2" fmla="*/ 1072603 w 9144000"/>
              <a:gd name="connsiteY2" fmla="*/ 582669 h 5143500"/>
              <a:gd name="connsiteX3" fmla="*/ 1369198 w 9144000"/>
              <a:gd name="connsiteY3" fmla="*/ 492617 h 5143500"/>
              <a:gd name="connsiteX4" fmla="*/ 1398683 w 9144000"/>
              <a:gd name="connsiteY4" fmla="*/ 492617 h 5143500"/>
              <a:gd name="connsiteX5" fmla="*/ 1393955 w 9144000"/>
              <a:gd name="connsiteY5" fmla="*/ 543661 h 5143500"/>
              <a:gd name="connsiteX6" fmla="*/ 1364780 w 9144000"/>
              <a:gd name="connsiteY6" fmla="*/ 543661 h 5143500"/>
              <a:gd name="connsiteX7" fmla="*/ 1959479 w 9144000"/>
              <a:gd name="connsiteY7" fmla="*/ 399656 h 5143500"/>
              <a:gd name="connsiteX8" fmla="*/ 1988417 w 9144000"/>
              <a:gd name="connsiteY8" fmla="*/ 399981 h 5143500"/>
              <a:gd name="connsiteX9" fmla="*/ 1981589 w 9144000"/>
              <a:gd name="connsiteY9" fmla="*/ 468263 h 5143500"/>
              <a:gd name="connsiteX10" fmla="*/ 1952651 w 9144000"/>
              <a:gd name="connsiteY10" fmla="*/ 468263 h 5143500"/>
              <a:gd name="connsiteX11" fmla="*/ 1114443 w 9144000"/>
              <a:gd name="connsiteY11" fmla="*/ 362788 h 5143500"/>
              <a:gd name="connsiteX12" fmla="*/ 1114210 w 9144000"/>
              <a:gd name="connsiteY12" fmla="*/ 365089 h 5143500"/>
              <a:gd name="connsiteX13" fmla="*/ 1114210 w 9144000"/>
              <a:gd name="connsiteY13" fmla="*/ 365088 h 5143500"/>
              <a:gd name="connsiteX14" fmla="*/ 976557 w 9144000"/>
              <a:gd name="connsiteY14" fmla="*/ 336310 h 5143500"/>
              <a:gd name="connsiteX15" fmla="*/ 952100 w 9144000"/>
              <a:gd name="connsiteY15" fmla="*/ 608940 h 5143500"/>
              <a:gd name="connsiteX16" fmla="*/ 986960 w 9144000"/>
              <a:gd name="connsiteY16" fmla="*/ 608940 h 5143500"/>
              <a:gd name="connsiteX17" fmla="*/ 1040642 w 9144000"/>
              <a:gd name="connsiteY17" fmla="*/ 608940 h 5143500"/>
              <a:gd name="connsiteX18" fmla="*/ 1044511 w 9144000"/>
              <a:gd name="connsiteY18" fmla="*/ 608940 h 5143500"/>
              <a:gd name="connsiteX19" fmla="*/ 1044511 w 9144000"/>
              <a:gd name="connsiteY19" fmla="*/ 608550 h 5143500"/>
              <a:gd name="connsiteX20" fmla="*/ 1047212 w 9144000"/>
              <a:gd name="connsiteY20" fmla="*/ 608278 h 5143500"/>
              <a:gd name="connsiteX21" fmla="*/ 1063693 w 9144000"/>
              <a:gd name="connsiteY21" fmla="*/ 599393 h 5143500"/>
              <a:gd name="connsiteX22" fmla="*/ 1069616 w 9144000"/>
              <a:gd name="connsiteY22" fmla="*/ 590607 h 5143500"/>
              <a:gd name="connsiteX23" fmla="*/ 1070680 w 9144000"/>
              <a:gd name="connsiteY23" fmla="*/ 589030 h 5143500"/>
              <a:gd name="connsiteX24" fmla="*/ 1072579 w 9144000"/>
              <a:gd name="connsiteY24" fmla="*/ 582912 h 5143500"/>
              <a:gd name="connsiteX25" fmla="*/ 1072584 w 9144000"/>
              <a:gd name="connsiteY25" fmla="*/ 582859 h 5143500"/>
              <a:gd name="connsiteX26" fmla="*/ 1109730 w 9144000"/>
              <a:gd name="connsiteY26" fmla="*/ 485878 h 5143500"/>
              <a:gd name="connsiteX27" fmla="*/ 1097365 w 9144000"/>
              <a:gd name="connsiteY27" fmla="*/ 608940 h 5143500"/>
              <a:gd name="connsiteX28" fmla="*/ 1213696 w 9144000"/>
              <a:gd name="connsiteY28" fmla="*/ 608940 h 5143500"/>
              <a:gd name="connsiteX29" fmla="*/ 1238154 w 9144000"/>
              <a:gd name="connsiteY29" fmla="*/ 336310 h 5143500"/>
              <a:gd name="connsiteX30" fmla="*/ 1205981 w 9144000"/>
              <a:gd name="connsiteY30" fmla="*/ 336310 h 5143500"/>
              <a:gd name="connsiteX31" fmla="*/ 1146424 w 9144000"/>
              <a:gd name="connsiteY31" fmla="*/ 336310 h 5143500"/>
              <a:gd name="connsiteX32" fmla="*/ 1142381 w 9144000"/>
              <a:gd name="connsiteY32" fmla="*/ 336310 h 5143500"/>
              <a:gd name="connsiteX33" fmla="*/ 1142381 w 9144000"/>
              <a:gd name="connsiteY33" fmla="*/ 336717 h 5143500"/>
              <a:gd name="connsiteX34" fmla="*/ 1139854 w 9144000"/>
              <a:gd name="connsiteY34" fmla="*/ 336972 h 5143500"/>
              <a:gd name="connsiteX35" fmla="*/ 1123374 w 9144000"/>
              <a:gd name="connsiteY35" fmla="*/ 345858 h 5143500"/>
              <a:gd name="connsiteX36" fmla="*/ 1116745 w 9144000"/>
              <a:gd name="connsiteY36" fmla="*/ 355689 h 5143500"/>
              <a:gd name="connsiteX37" fmla="*/ 1116388 w 9144000"/>
              <a:gd name="connsiteY37" fmla="*/ 356220 h 5143500"/>
              <a:gd name="connsiteX38" fmla="*/ 1114488 w 9144000"/>
              <a:gd name="connsiteY38" fmla="*/ 362339 h 5143500"/>
              <a:gd name="connsiteX39" fmla="*/ 1114443 w 9144000"/>
              <a:gd name="connsiteY39" fmla="*/ 362788 h 5143500"/>
              <a:gd name="connsiteX40" fmla="*/ 1077630 w 9144000"/>
              <a:gd name="connsiteY40" fmla="*/ 476280 h 5143500"/>
              <a:gd name="connsiteX41" fmla="*/ 1092415 w 9144000"/>
              <a:gd name="connsiteY41" fmla="*/ 336310 h 5143500"/>
              <a:gd name="connsiteX42" fmla="*/ 715068 w 9144000"/>
              <a:gd name="connsiteY42" fmla="*/ 336310 h 5143500"/>
              <a:gd name="connsiteX43" fmla="*/ 685031 w 9144000"/>
              <a:gd name="connsiteY43" fmla="*/ 356220 h 5143500"/>
              <a:gd name="connsiteX44" fmla="*/ 683600 w 9144000"/>
              <a:gd name="connsiteY44" fmla="*/ 360829 h 5143500"/>
              <a:gd name="connsiteX45" fmla="*/ 682668 w 9144000"/>
              <a:gd name="connsiteY45" fmla="*/ 370886 h 5143500"/>
              <a:gd name="connsiteX46" fmla="*/ 682669 w 9144000"/>
              <a:gd name="connsiteY46" fmla="*/ 370887 h 5143500"/>
              <a:gd name="connsiteX47" fmla="*/ 663648 w 9144000"/>
              <a:gd name="connsiteY47" fmla="*/ 576234 h 5143500"/>
              <a:gd name="connsiteX48" fmla="*/ 663574 w 9144000"/>
              <a:gd name="connsiteY48" fmla="*/ 577024 h 5143500"/>
              <a:gd name="connsiteX49" fmla="*/ 664233 w 9144000"/>
              <a:gd name="connsiteY49" fmla="*/ 583561 h 5143500"/>
              <a:gd name="connsiteX50" fmla="*/ 689600 w 9144000"/>
              <a:gd name="connsiteY50" fmla="*/ 608928 h 5143500"/>
              <a:gd name="connsiteX51" fmla="*/ 689718 w 9144000"/>
              <a:gd name="connsiteY51" fmla="*/ 608940 h 5143500"/>
              <a:gd name="connsiteX52" fmla="*/ 702621 w 9144000"/>
              <a:gd name="connsiteY52" fmla="*/ 608940 h 5143500"/>
              <a:gd name="connsiteX53" fmla="*/ 887067 w 9144000"/>
              <a:gd name="connsiteY53" fmla="*/ 608940 h 5143500"/>
              <a:gd name="connsiteX54" fmla="*/ 887068 w 9144000"/>
              <a:gd name="connsiteY54" fmla="*/ 608940 h 5143500"/>
              <a:gd name="connsiteX55" fmla="*/ 899969 w 9144000"/>
              <a:gd name="connsiteY55" fmla="*/ 608940 h 5143500"/>
              <a:gd name="connsiteX56" fmla="*/ 900089 w 9144000"/>
              <a:gd name="connsiteY56" fmla="*/ 608928 h 5143500"/>
              <a:gd name="connsiteX57" fmla="*/ 923555 w 9144000"/>
              <a:gd name="connsiteY57" fmla="*/ 589681 h 5143500"/>
              <a:gd name="connsiteX58" fmla="*/ 924532 w 9144000"/>
              <a:gd name="connsiteY58" fmla="*/ 586533 h 5143500"/>
              <a:gd name="connsiteX59" fmla="*/ 925519 w 9144000"/>
              <a:gd name="connsiteY59" fmla="*/ 575886 h 5143500"/>
              <a:gd name="connsiteX60" fmla="*/ 925831 w 9144000"/>
              <a:gd name="connsiteY60" fmla="*/ 575886 h 5143500"/>
              <a:gd name="connsiteX61" fmla="*/ 925831 w 9144000"/>
              <a:gd name="connsiteY61" fmla="*/ 572515 h 5143500"/>
              <a:gd name="connsiteX62" fmla="*/ 933801 w 9144000"/>
              <a:gd name="connsiteY62" fmla="*/ 486470 h 5143500"/>
              <a:gd name="connsiteX63" fmla="*/ 817697 w 9144000"/>
              <a:gd name="connsiteY63" fmla="*/ 486470 h 5143500"/>
              <a:gd name="connsiteX64" fmla="*/ 812399 w 9144000"/>
              <a:gd name="connsiteY64" fmla="*/ 543661 h 5143500"/>
              <a:gd name="connsiteX65" fmla="*/ 782356 w 9144000"/>
              <a:gd name="connsiteY65" fmla="*/ 543661 h 5143500"/>
              <a:gd name="connsiteX66" fmla="*/ 795564 w 9144000"/>
              <a:gd name="connsiteY66" fmla="*/ 401073 h 5143500"/>
              <a:gd name="connsiteX67" fmla="*/ 825607 w 9144000"/>
              <a:gd name="connsiteY67" fmla="*/ 401073 h 5143500"/>
              <a:gd name="connsiteX68" fmla="*/ 820739 w 9144000"/>
              <a:gd name="connsiteY68" fmla="*/ 453631 h 5143500"/>
              <a:gd name="connsiteX69" fmla="*/ 936843 w 9144000"/>
              <a:gd name="connsiteY69" fmla="*/ 453631 h 5143500"/>
              <a:gd name="connsiteX70" fmla="*/ 943979 w 9144000"/>
              <a:gd name="connsiteY70" fmla="*/ 376599 h 5143500"/>
              <a:gd name="connsiteX71" fmla="*/ 944919 w 9144000"/>
              <a:gd name="connsiteY71" fmla="*/ 366447 h 5143500"/>
              <a:gd name="connsiteX72" fmla="*/ 944462 w 9144000"/>
              <a:gd name="connsiteY72" fmla="*/ 361905 h 5143500"/>
              <a:gd name="connsiteX73" fmla="*/ 919095 w 9144000"/>
              <a:gd name="connsiteY73" fmla="*/ 336538 h 5143500"/>
              <a:gd name="connsiteX74" fmla="*/ 916825 w 9144000"/>
              <a:gd name="connsiteY74" fmla="*/ 336310 h 5143500"/>
              <a:gd name="connsiteX75" fmla="*/ 908224 w 9144000"/>
              <a:gd name="connsiteY75" fmla="*/ 336310 h 5143500"/>
              <a:gd name="connsiteX76" fmla="*/ 1818985 w 9144000"/>
              <a:gd name="connsiteY76" fmla="*/ 336280 h 5143500"/>
              <a:gd name="connsiteX77" fmla="*/ 1703832 w 9144000"/>
              <a:gd name="connsiteY77" fmla="*/ 336294 h 5143500"/>
              <a:gd name="connsiteX78" fmla="*/ 1692459 w 9144000"/>
              <a:gd name="connsiteY78" fmla="*/ 460889 h 5143500"/>
              <a:gd name="connsiteX79" fmla="*/ 1663495 w 9144000"/>
              <a:gd name="connsiteY79" fmla="*/ 460456 h 5143500"/>
              <a:gd name="connsiteX80" fmla="*/ 1674348 w 9144000"/>
              <a:gd name="connsiteY80" fmla="*/ 336296 h 5143500"/>
              <a:gd name="connsiteX81" fmla="*/ 1557673 w 9144000"/>
              <a:gd name="connsiteY81" fmla="*/ 336310 h 5143500"/>
              <a:gd name="connsiteX82" fmla="*/ 1545183 w 9144000"/>
              <a:gd name="connsiteY82" fmla="*/ 477578 h 5143500"/>
              <a:gd name="connsiteX83" fmla="*/ 1544330 w 9144000"/>
              <a:gd name="connsiteY83" fmla="*/ 487217 h 5143500"/>
              <a:gd name="connsiteX84" fmla="*/ 1544805 w 9144000"/>
              <a:gd name="connsiteY84" fmla="*/ 491932 h 5143500"/>
              <a:gd name="connsiteX85" fmla="*/ 1564053 w 9144000"/>
              <a:gd name="connsiteY85" fmla="*/ 515399 h 5143500"/>
              <a:gd name="connsiteX86" fmla="*/ 1569502 w 9144000"/>
              <a:gd name="connsiteY86" fmla="*/ 517091 h 5143500"/>
              <a:gd name="connsiteX87" fmla="*/ 1583887 w 9144000"/>
              <a:gd name="connsiteY87" fmla="*/ 517120 h 5143500"/>
              <a:gd name="connsiteX88" fmla="*/ 1686932 w 9144000"/>
              <a:gd name="connsiteY88" fmla="*/ 517328 h 5143500"/>
              <a:gd name="connsiteX89" fmla="*/ 1684804 w 9144000"/>
              <a:gd name="connsiteY89" fmla="*/ 544527 h 5143500"/>
              <a:gd name="connsiteX90" fmla="*/ 1539278 w 9144000"/>
              <a:gd name="connsiteY90" fmla="*/ 544347 h 5143500"/>
              <a:gd name="connsiteX91" fmla="*/ 1533567 w 9144000"/>
              <a:gd name="connsiteY91" fmla="*/ 608940 h 5143500"/>
              <a:gd name="connsiteX92" fmla="*/ 1759039 w 9144000"/>
              <a:gd name="connsiteY92" fmla="*/ 608940 h 5143500"/>
              <a:gd name="connsiteX93" fmla="*/ 1759040 w 9144000"/>
              <a:gd name="connsiteY93" fmla="*/ 608940 h 5143500"/>
              <a:gd name="connsiteX94" fmla="*/ 1771942 w 9144000"/>
              <a:gd name="connsiteY94" fmla="*/ 608940 h 5143500"/>
              <a:gd name="connsiteX95" fmla="*/ 1772060 w 9144000"/>
              <a:gd name="connsiteY95" fmla="*/ 608928 h 5143500"/>
              <a:gd name="connsiteX96" fmla="*/ 1795528 w 9144000"/>
              <a:gd name="connsiteY96" fmla="*/ 589681 h 5143500"/>
              <a:gd name="connsiteX97" fmla="*/ 1796504 w 9144000"/>
              <a:gd name="connsiteY97" fmla="*/ 586533 h 5143500"/>
              <a:gd name="connsiteX98" fmla="*/ 1797490 w 9144000"/>
              <a:gd name="connsiteY98" fmla="*/ 575886 h 5143500"/>
              <a:gd name="connsiteX99" fmla="*/ 1797803 w 9144000"/>
              <a:gd name="connsiteY99" fmla="*/ 575886 h 5143500"/>
              <a:gd name="connsiteX100" fmla="*/ 1797803 w 9144000"/>
              <a:gd name="connsiteY100" fmla="*/ 572515 h 5143500"/>
              <a:gd name="connsiteX101" fmla="*/ 1528570 w 9144000"/>
              <a:gd name="connsiteY101" fmla="*/ 336280 h 5143500"/>
              <a:gd name="connsiteX102" fmla="*/ 1267258 w 9144000"/>
              <a:gd name="connsiteY102" fmla="*/ 336310 h 5143500"/>
              <a:gd name="connsiteX103" fmla="*/ 1243152 w 9144000"/>
              <a:gd name="connsiteY103" fmla="*/ 608940 h 5143500"/>
              <a:gd name="connsiteX104" fmla="*/ 1468623 w 9144000"/>
              <a:gd name="connsiteY104" fmla="*/ 608940 h 5143500"/>
              <a:gd name="connsiteX105" fmla="*/ 1468624 w 9144000"/>
              <a:gd name="connsiteY105" fmla="*/ 608940 h 5143500"/>
              <a:gd name="connsiteX106" fmla="*/ 1481527 w 9144000"/>
              <a:gd name="connsiteY106" fmla="*/ 608940 h 5143500"/>
              <a:gd name="connsiteX107" fmla="*/ 1481645 w 9144000"/>
              <a:gd name="connsiteY107" fmla="*/ 608928 h 5143500"/>
              <a:gd name="connsiteX108" fmla="*/ 1505112 w 9144000"/>
              <a:gd name="connsiteY108" fmla="*/ 589681 h 5143500"/>
              <a:gd name="connsiteX109" fmla="*/ 1506089 w 9144000"/>
              <a:gd name="connsiteY109" fmla="*/ 586533 h 5143500"/>
              <a:gd name="connsiteX110" fmla="*/ 1507075 w 9144000"/>
              <a:gd name="connsiteY110" fmla="*/ 575886 h 5143500"/>
              <a:gd name="connsiteX111" fmla="*/ 1507387 w 9144000"/>
              <a:gd name="connsiteY111" fmla="*/ 575886 h 5143500"/>
              <a:gd name="connsiteX112" fmla="*/ 1507387 w 9144000"/>
              <a:gd name="connsiteY112" fmla="*/ 572515 h 5143500"/>
              <a:gd name="connsiteX113" fmla="*/ 1513926 w 9144000"/>
              <a:gd name="connsiteY113" fmla="*/ 501930 h 5143500"/>
              <a:gd name="connsiteX114" fmla="*/ 1514182 w 9144000"/>
              <a:gd name="connsiteY114" fmla="*/ 501930 h 5143500"/>
              <a:gd name="connsiteX115" fmla="*/ 1517312 w 9144000"/>
              <a:gd name="connsiteY115" fmla="*/ 468143 h 5143500"/>
              <a:gd name="connsiteX116" fmla="*/ 1518253 w 9144000"/>
              <a:gd name="connsiteY116" fmla="*/ 457991 h 5143500"/>
              <a:gd name="connsiteX117" fmla="*/ 1517795 w 9144000"/>
              <a:gd name="connsiteY117" fmla="*/ 453449 h 5143500"/>
              <a:gd name="connsiteX118" fmla="*/ 1492428 w 9144000"/>
              <a:gd name="connsiteY118" fmla="*/ 428082 h 5143500"/>
              <a:gd name="connsiteX119" fmla="*/ 1490159 w 9144000"/>
              <a:gd name="connsiteY119" fmla="*/ 427853 h 5143500"/>
              <a:gd name="connsiteX120" fmla="*/ 1481557 w 9144000"/>
              <a:gd name="connsiteY120" fmla="*/ 427853 h 5143500"/>
              <a:gd name="connsiteX121" fmla="*/ 1374802 w 9144000"/>
              <a:gd name="connsiteY121" fmla="*/ 427853 h 5143500"/>
              <a:gd name="connsiteX122" fmla="*/ 1377120 w 9144000"/>
              <a:gd name="connsiteY122" fmla="*/ 401073 h 5143500"/>
              <a:gd name="connsiteX123" fmla="*/ 1523169 w 9144000"/>
              <a:gd name="connsiteY123" fmla="*/ 400740 h 5143500"/>
              <a:gd name="connsiteX124" fmla="*/ 1848535 w 9144000"/>
              <a:gd name="connsiteY124" fmla="*/ 335659 h 5143500"/>
              <a:gd name="connsiteX125" fmla="*/ 1832109 w 9144000"/>
              <a:gd name="connsiteY125" fmla="*/ 524134 h 5143500"/>
              <a:gd name="connsiteX126" fmla="*/ 1824724 w 9144000"/>
              <a:gd name="connsiteY126" fmla="*/ 608874 h 5143500"/>
              <a:gd name="connsiteX127" fmla="*/ 1940556 w 9144000"/>
              <a:gd name="connsiteY127" fmla="*/ 608940 h 5143500"/>
              <a:gd name="connsiteX128" fmla="*/ 1947847 w 9144000"/>
              <a:gd name="connsiteY128" fmla="*/ 524134 h 5143500"/>
              <a:gd name="connsiteX129" fmla="*/ 2057502 w 9144000"/>
              <a:gd name="connsiteY129" fmla="*/ 524134 h 5143500"/>
              <a:gd name="connsiteX130" fmla="*/ 2057503 w 9144000"/>
              <a:gd name="connsiteY130" fmla="*/ 524134 h 5143500"/>
              <a:gd name="connsiteX131" fmla="*/ 2070416 w 9144000"/>
              <a:gd name="connsiteY131" fmla="*/ 524134 h 5143500"/>
              <a:gd name="connsiteX132" fmla="*/ 2070534 w 9144000"/>
              <a:gd name="connsiteY132" fmla="*/ 524121 h 5143500"/>
              <a:gd name="connsiteX133" fmla="*/ 2094022 w 9144000"/>
              <a:gd name="connsiteY133" fmla="*/ 504174 h 5143500"/>
              <a:gd name="connsiteX134" fmla="*/ 2095000 w 9144000"/>
              <a:gd name="connsiteY134" fmla="*/ 500912 h 5143500"/>
              <a:gd name="connsiteX135" fmla="*/ 2095987 w 9144000"/>
              <a:gd name="connsiteY135" fmla="*/ 489878 h 5143500"/>
              <a:gd name="connsiteX136" fmla="*/ 2096299 w 9144000"/>
              <a:gd name="connsiteY136" fmla="*/ 489878 h 5143500"/>
              <a:gd name="connsiteX137" fmla="*/ 2096299 w 9144000"/>
              <a:gd name="connsiteY137" fmla="*/ 486384 h 5143500"/>
              <a:gd name="connsiteX138" fmla="*/ 2102845 w 9144000"/>
              <a:gd name="connsiteY138" fmla="*/ 413232 h 5143500"/>
              <a:gd name="connsiteX139" fmla="*/ 2103101 w 9144000"/>
              <a:gd name="connsiteY139" fmla="*/ 413232 h 5143500"/>
              <a:gd name="connsiteX140" fmla="*/ 2104495 w 9144000"/>
              <a:gd name="connsiteY140" fmla="*/ 397641 h 5143500"/>
              <a:gd name="connsiteX141" fmla="*/ 2104496 w 9144000"/>
              <a:gd name="connsiteY141" fmla="*/ 397641 h 5143500"/>
              <a:gd name="connsiteX142" fmla="*/ 2106233 w 9144000"/>
              <a:gd name="connsiteY142" fmla="*/ 378216 h 5143500"/>
              <a:gd name="connsiteX143" fmla="*/ 2107174 w 9144000"/>
              <a:gd name="connsiteY143" fmla="*/ 367696 h 5143500"/>
              <a:gd name="connsiteX144" fmla="*/ 2106716 w 9144000"/>
              <a:gd name="connsiteY144" fmla="*/ 362989 h 5143500"/>
              <a:gd name="connsiteX145" fmla="*/ 2081327 w 9144000"/>
              <a:gd name="connsiteY145" fmla="*/ 336700 h 5143500"/>
              <a:gd name="connsiteX146" fmla="*/ 2079056 w 9144000"/>
              <a:gd name="connsiteY146" fmla="*/ 336462 h 5143500"/>
              <a:gd name="connsiteX147" fmla="*/ 2070447 w 9144000"/>
              <a:gd name="connsiteY147" fmla="*/ 336462 h 5143500"/>
              <a:gd name="connsiteX148" fmla="*/ 1963600 w 9144000"/>
              <a:gd name="connsiteY148" fmla="*/ 336462 h 5143500"/>
              <a:gd name="connsiteX149" fmla="*/ 1963666 w 9144000"/>
              <a:gd name="connsiteY149" fmla="*/ 335659 h 5143500"/>
              <a:gd name="connsiteX150" fmla="*/ 0 w 9144000"/>
              <a:gd name="connsiteY150" fmla="*/ 0 h 5143500"/>
              <a:gd name="connsiteX151" fmla="*/ 9144000 w 9144000"/>
              <a:gd name="connsiteY151" fmla="*/ 0 h 5143500"/>
              <a:gd name="connsiteX152" fmla="*/ 9144000 w 9144000"/>
              <a:gd name="connsiteY152" fmla="*/ 5143500 h 5143500"/>
              <a:gd name="connsiteX153" fmla="*/ 0 w 9144000"/>
              <a:gd name="connsiteY15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9144000" h="5143500">
                <a:moveTo>
                  <a:pt x="1072604" y="582669"/>
                </a:moveTo>
                <a:lnTo>
                  <a:pt x="1072584" y="582859"/>
                </a:lnTo>
                <a:lnTo>
                  <a:pt x="1072603" y="582669"/>
                </a:lnTo>
                <a:close/>
                <a:moveTo>
                  <a:pt x="1369198" y="492617"/>
                </a:moveTo>
                <a:lnTo>
                  <a:pt x="1398683" y="492617"/>
                </a:lnTo>
                <a:lnTo>
                  <a:pt x="1393955" y="543661"/>
                </a:lnTo>
                <a:lnTo>
                  <a:pt x="1364780" y="543661"/>
                </a:lnTo>
                <a:close/>
                <a:moveTo>
                  <a:pt x="1959479" y="399656"/>
                </a:moveTo>
                <a:lnTo>
                  <a:pt x="1988417" y="399981"/>
                </a:lnTo>
                <a:lnTo>
                  <a:pt x="1981589" y="468263"/>
                </a:lnTo>
                <a:lnTo>
                  <a:pt x="1952651" y="468263"/>
                </a:lnTo>
                <a:close/>
                <a:moveTo>
                  <a:pt x="1114443" y="362788"/>
                </a:moveTo>
                <a:lnTo>
                  <a:pt x="1114210" y="365089"/>
                </a:lnTo>
                <a:lnTo>
                  <a:pt x="1114210" y="365088"/>
                </a:lnTo>
                <a:close/>
                <a:moveTo>
                  <a:pt x="976557" y="336310"/>
                </a:moveTo>
                <a:lnTo>
                  <a:pt x="952100" y="608940"/>
                </a:lnTo>
                <a:lnTo>
                  <a:pt x="986960" y="608940"/>
                </a:lnTo>
                <a:lnTo>
                  <a:pt x="1040642" y="608940"/>
                </a:lnTo>
                <a:lnTo>
                  <a:pt x="1044511" y="608940"/>
                </a:lnTo>
                <a:lnTo>
                  <a:pt x="1044511" y="608550"/>
                </a:lnTo>
                <a:lnTo>
                  <a:pt x="1047212" y="608278"/>
                </a:lnTo>
                <a:cubicBezTo>
                  <a:pt x="1053578" y="606976"/>
                  <a:pt x="1059268" y="603817"/>
                  <a:pt x="1063693" y="599393"/>
                </a:cubicBezTo>
                <a:lnTo>
                  <a:pt x="1069616" y="590607"/>
                </a:lnTo>
                <a:lnTo>
                  <a:pt x="1070680" y="589030"/>
                </a:lnTo>
                <a:cubicBezTo>
                  <a:pt x="1071504" y="587080"/>
                  <a:pt x="1072145" y="585034"/>
                  <a:pt x="1072579" y="582912"/>
                </a:cubicBezTo>
                <a:lnTo>
                  <a:pt x="1072584" y="582859"/>
                </a:lnTo>
                <a:lnTo>
                  <a:pt x="1109730" y="485878"/>
                </a:lnTo>
                <a:lnTo>
                  <a:pt x="1097365" y="608940"/>
                </a:lnTo>
                <a:lnTo>
                  <a:pt x="1213696" y="608940"/>
                </a:lnTo>
                <a:lnTo>
                  <a:pt x="1238154" y="336310"/>
                </a:lnTo>
                <a:lnTo>
                  <a:pt x="1205981" y="336310"/>
                </a:lnTo>
                <a:lnTo>
                  <a:pt x="1146424" y="336310"/>
                </a:lnTo>
                <a:lnTo>
                  <a:pt x="1142381" y="336310"/>
                </a:lnTo>
                <a:lnTo>
                  <a:pt x="1142381" y="336717"/>
                </a:lnTo>
                <a:lnTo>
                  <a:pt x="1139854" y="336972"/>
                </a:lnTo>
                <a:cubicBezTo>
                  <a:pt x="1133488" y="338275"/>
                  <a:pt x="1127798" y="341434"/>
                  <a:pt x="1123374" y="345858"/>
                </a:cubicBezTo>
                <a:lnTo>
                  <a:pt x="1116745" y="355689"/>
                </a:lnTo>
                <a:lnTo>
                  <a:pt x="1116388" y="356220"/>
                </a:lnTo>
                <a:cubicBezTo>
                  <a:pt x="1115562" y="358170"/>
                  <a:pt x="1114922" y="360217"/>
                  <a:pt x="1114488" y="362339"/>
                </a:cubicBezTo>
                <a:lnTo>
                  <a:pt x="1114443" y="362788"/>
                </a:lnTo>
                <a:lnTo>
                  <a:pt x="1077630" y="476280"/>
                </a:lnTo>
                <a:lnTo>
                  <a:pt x="1092415" y="336310"/>
                </a:lnTo>
                <a:close/>
                <a:moveTo>
                  <a:pt x="715068" y="336310"/>
                </a:moveTo>
                <a:cubicBezTo>
                  <a:pt x="701565" y="336310"/>
                  <a:pt x="689980" y="344520"/>
                  <a:pt x="685031" y="356220"/>
                </a:cubicBezTo>
                <a:lnTo>
                  <a:pt x="683600" y="360829"/>
                </a:lnTo>
                <a:lnTo>
                  <a:pt x="682668" y="370886"/>
                </a:lnTo>
                <a:cubicBezTo>
                  <a:pt x="682668" y="370887"/>
                  <a:pt x="682669" y="370887"/>
                  <a:pt x="682669" y="370887"/>
                </a:cubicBezTo>
                <a:lnTo>
                  <a:pt x="663648" y="576234"/>
                </a:lnTo>
                <a:lnTo>
                  <a:pt x="663574" y="577024"/>
                </a:lnTo>
                <a:lnTo>
                  <a:pt x="664233" y="583561"/>
                </a:lnTo>
                <a:cubicBezTo>
                  <a:pt x="666839" y="596294"/>
                  <a:pt x="676867" y="606322"/>
                  <a:pt x="689600" y="608928"/>
                </a:cubicBezTo>
                <a:lnTo>
                  <a:pt x="689718" y="608940"/>
                </a:lnTo>
                <a:lnTo>
                  <a:pt x="702621" y="608940"/>
                </a:lnTo>
                <a:lnTo>
                  <a:pt x="887067" y="608940"/>
                </a:lnTo>
                <a:lnTo>
                  <a:pt x="887068" y="608940"/>
                </a:lnTo>
                <a:lnTo>
                  <a:pt x="899969" y="608940"/>
                </a:lnTo>
                <a:lnTo>
                  <a:pt x="900089" y="608928"/>
                </a:lnTo>
                <a:cubicBezTo>
                  <a:pt x="910699" y="606757"/>
                  <a:pt x="919431" y="599431"/>
                  <a:pt x="923555" y="589681"/>
                </a:cubicBezTo>
                <a:lnTo>
                  <a:pt x="924532" y="586533"/>
                </a:lnTo>
                <a:lnTo>
                  <a:pt x="925519" y="575886"/>
                </a:lnTo>
                <a:lnTo>
                  <a:pt x="925831" y="575886"/>
                </a:lnTo>
                <a:lnTo>
                  <a:pt x="925831" y="572515"/>
                </a:lnTo>
                <a:lnTo>
                  <a:pt x="933801" y="486470"/>
                </a:lnTo>
                <a:lnTo>
                  <a:pt x="817697" y="486470"/>
                </a:lnTo>
                <a:lnTo>
                  <a:pt x="812399" y="543661"/>
                </a:lnTo>
                <a:lnTo>
                  <a:pt x="782356" y="543661"/>
                </a:lnTo>
                <a:lnTo>
                  <a:pt x="795564" y="401073"/>
                </a:lnTo>
                <a:lnTo>
                  <a:pt x="825607" y="401073"/>
                </a:lnTo>
                <a:lnTo>
                  <a:pt x="820739" y="453631"/>
                </a:lnTo>
                <a:lnTo>
                  <a:pt x="936843" y="453631"/>
                </a:lnTo>
                <a:lnTo>
                  <a:pt x="943979" y="376599"/>
                </a:lnTo>
                <a:lnTo>
                  <a:pt x="944919" y="366447"/>
                </a:lnTo>
                <a:lnTo>
                  <a:pt x="944462" y="361905"/>
                </a:lnTo>
                <a:cubicBezTo>
                  <a:pt x="941856" y="349173"/>
                  <a:pt x="931827" y="339144"/>
                  <a:pt x="919095" y="336538"/>
                </a:cubicBezTo>
                <a:lnTo>
                  <a:pt x="916825" y="336310"/>
                </a:lnTo>
                <a:lnTo>
                  <a:pt x="908224" y="336310"/>
                </a:lnTo>
                <a:close/>
                <a:moveTo>
                  <a:pt x="1818985" y="336280"/>
                </a:moveTo>
                <a:lnTo>
                  <a:pt x="1703832" y="336294"/>
                </a:lnTo>
                <a:lnTo>
                  <a:pt x="1692459" y="460889"/>
                </a:lnTo>
                <a:lnTo>
                  <a:pt x="1663495" y="460456"/>
                </a:lnTo>
                <a:lnTo>
                  <a:pt x="1674348" y="336296"/>
                </a:lnTo>
                <a:lnTo>
                  <a:pt x="1557673" y="336310"/>
                </a:lnTo>
                <a:lnTo>
                  <a:pt x="1545183" y="477578"/>
                </a:lnTo>
                <a:lnTo>
                  <a:pt x="1544330" y="487217"/>
                </a:lnTo>
                <a:lnTo>
                  <a:pt x="1544805" y="491932"/>
                </a:lnTo>
                <a:cubicBezTo>
                  <a:pt x="1546977" y="502542"/>
                  <a:pt x="1554303" y="511275"/>
                  <a:pt x="1564053" y="515399"/>
                </a:cubicBezTo>
                <a:lnTo>
                  <a:pt x="1569502" y="517091"/>
                </a:lnTo>
                <a:lnTo>
                  <a:pt x="1583887" y="517120"/>
                </a:lnTo>
                <a:lnTo>
                  <a:pt x="1686932" y="517328"/>
                </a:lnTo>
                <a:lnTo>
                  <a:pt x="1684804" y="544527"/>
                </a:lnTo>
                <a:lnTo>
                  <a:pt x="1539278" y="544347"/>
                </a:lnTo>
                <a:lnTo>
                  <a:pt x="1533567" y="608940"/>
                </a:lnTo>
                <a:lnTo>
                  <a:pt x="1759039" y="608940"/>
                </a:lnTo>
                <a:lnTo>
                  <a:pt x="1759040" y="608940"/>
                </a:lnTo>
                <a:lnTo>
                  <a:pt x="1771942" y="608940"/>
                </a:lnTo>
                <a:lnTo>
                  <a:pt x="1772060" y="608928"/>
                </a:lnTo>
                <a:cubicBezTo>
                  <a:pt x="1782671" y="606757"/>
                  <a:pt x="1791403" y="599431"/>
                  <a:pt x="1795528" y="589681"/>
                </a:cubicBezTo>
                <a:lnTo>
                  <a:pt x="1796504" y="586533"/>
                </a:lnTo>
                <a:lnTo>
                  <a:pt x="1797490" y="575886"/>
                </a:lnTo>
                <a:lnTo>
                  <a:pt x="1797803" y="575886"/>
                </a:lnTo>
                <a:lnTo>
                  <a:pt x="1797803" y="572515"/>
                </a:lnTo>
                <a:close/>
                <a:moveTo>
                  <a:pt x="1528570" y="336280"/>
                </a:moveTo>
                <a:lnTo>
                  <a:pt x="1267258" y="336310"/>
                </a:lnTo>
                <a:lnTo>
                  <a:pt x="1243152" y="608940"/>
                </a:lnTo>
                <a:lnTo>
                  <a:pt x="1468623" y="608940"/>
                </a:lnTo>
                <a:lnTo>
                  <a:pt x="1468624" y="608940"/>
                </a:lnTo>
                <a:lnTo>
                  <a:pt x="1481527" y="608940"/>
                </a:lnTo>
                <a:lnTo>
                  <a:pt x="1481645" y="608928"/>
                </a:lnTo>
                <a:cubicBezTo>
                  <a:pt x="1492255" y="606757"/>
                  <a:pt x="1500988" y="599431"/>
                  <a:pt x="1505112" y="589681"/>
                </a:cubicBezTo>
                <a:lnTo>
                  <a:pt x="1506089" y="586533"/>
                </a:lnTo>
                <a:lnTo>
                  <a:pt x="1507075" y="575886"/>
                </a:lnTo>
                <a:lnTo>
                  <a:pt x="1507387" y="575886"/>
                </a:lnTo>
                <a:lnTo>
                  <a:pt x="1507387" y="572515"/>
                </a:lnTo>
                <a:lnTo>
                  <a:pt x="1513926" y="501930"/>
                </a:lnTo>
                <a:lnTo>
                  <a:pt x="1514182" y="501930"/>
                </a:lnTo>
                <a:lnTo>
                  <a:pt x="1517312" y="468143"/>
                </a:lnTo>
                <a:lnTo>
                  <a:pt x="1518253" y="457991"/>
                </a:lnTo>
                <a:lnTo>
                  <a:pt x="1517795" y="453449"/>
                </a:lnTo>
                <a:cubicBezTo>
                  <a:pt x="1515189" y="440716"/>
                  <a:pt x="1505161" y="430688"/>
                  <a:pt x="1492428" y="428082"/>
                </a:cubicBezTo>
                <a:lnTo>
                  <a:pt x="1490159" y="427853"/>
                </a:lnTo>
                <a:lnTo>
                  <a:pt x="1481557" y="427853"/>
                </a:lnTo>
                <a:lnTo>
                  <a:pt x="1374802" y="427853"/>
                </a:lnTo>
                <a:lnTo>
                  <a:pt x="1377120" y="401073"/>
                </a:lnTo>
                <a:lnTo>
                  <a:pt x="1523169" y="400740"/>
                </a:lnTo>
                <a:close/>
                <a:moveTo>
                  <a:pt x="1848535" y="335659"/>
                </a:moveTo>
                <a:lnTo>
                  <a:pt x="1832109" y="524134"/>
                </a:lnTo>
                <a:lnTo>
                  <a:pt x="1824724" y="608874"/>
                </a:lnTo>
                <a:lnTo>
                  <a:pt x="1940556" y="608940"/>
                </a:lnTo>
                <a:lnTo>
                  <a:pt x="1947847" y="524134"/>
                </a:lnTo>
                <a:lnTo>
                  <a:pt x="2057502" y="524134"/>
                </a:lnTo>
                <a:lnTo>
                  <a:pt x="2057503" y="524134"/>
                </a:lnTo>
                <a:lnTo>
                  <a:pt x="2070416" y="524134"/>
                </a:lnTo>
                <a:lnTo>
                  <a:pt x="2070534" y="524121"/>
                </a:lnTo>
                <a:cubicBezTo>
                  <a:pt x="2081154" y="521871"/>
                  <a:pt x="2089895" y="514279"/>
                  <a:pt x="2094022" y="504174"/>
                </a:cubicBezTo>
                <a:lnTo>
                  <a:pt x="2095000" y="500912"/>
                </a:lnTo>
                <a:lnTo>
                  <a:pt x="2095987" y="489878"/>
                </a:lnTo>
                <a:lnTo>
                  <a:pt x="2096299" y="489878"/>
                </a:lnTo>
                <a:lnTo>
                  <a:pt x="2096299" y="486384"/>
                </a:lnTo>
                <a:lnTo>
                  <a:pt x="2102845" y="413232"/>
                </a:lnTo>
                <a:lnTo>
                  <a:pt x="2103101" y="413232"/>
                </a:lnTo>
                <a:lnTo>
                  <a:pt x="2104495" y="397641"/>
                </a:lnTo>
                <a:lnTo>
                  <a:pt x="2104496" y="397641"/>
                </a:lnTo>
                <a:lnTo>
                  <a:pt x="2106233" y="378216"/>
                </a:lnTo>
                <a:lnTo>
                  <a:pt x="2107174" y="367696"/>
                </a:lnTo>
                <a:lnTo>
                  <a:pt x="2106716" y="362989"/>
                </a:lnTo>
                <a:cubicBezTo>
                  <a:pt x="2104109" y="349793"/>
                  <a:pt x="2094071" y="339400"/>
                  <a:pt x="2081327" y="336700"/>
                </a:cubicBezTo>
                <a:lnTo>
                  <a:pt x="2079056" y="336462"/>
                </a:lnTo>
                <a:lnTo>
                  <a:pt x="2070447" y="336462"/>
                </a:lnTo>
                <a:lnTo>
                  <a:pt x="1963600" y="336462"/>
                </a:lnTo>
                <a:lnTo>
                  <a:pt x="1963666" y="335659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rgbClr val="77E2C3"/>
              </a:gs>
            </a:gsLst>
            <a:lin ang="13500000" scaled="1"/>
            <a:tileRect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ru-RU" sz="1000" dirty="0"/>
            </a:lvl1pPr>
          </a:lstStyle>
          <a:p>
            <a:pPr lvl="0"/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8863811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7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10">
            <a:extLst>
              <a:ext uri="{FF2B5EF4-FFF2-40B4-BE49-F238E27FC236}">
                <a16:creationId xmlns:a16="http://schemas.microsoft.com/office/drawing/2014/main" id="{ED65F71C-5FF4-BB99-AF20-389D75106E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2952521"/>
            <a:ext cx="7822200" cy="1894900"/>
          </a:xfrm>
        </p:spPr>
        <p:txBody>
          <a:bodyPr vert="horz" lIns="0" tIns="0" rIns="0" bIns="0">
            <a:normAutofit/>
          </a:bodyPr>
          <a:lstStyle>
            <a:lvl1pPr>
              <a:defRPr lang="ru-RU" sz="4000" b="1" i="0" kern="1200" dirty="0">
                <a:solidFill>
                  <a:schemeClr val="bg1"/>
                </a:solidFill>
                <a:latin typeface="Arial" panose="020B0604020202020204" pitchFamily="34" charset="0"/>
                <a:ea typeface="Roboto Semi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6871664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8">
            <a:extLst>
              <a:ext uri="{FF2B5EF4-FFF2-40B4-BE49-F238E27FC236}">
                <a16:creationId xmlns:a16="http://schemas.microsoft.com/office/drawing/2014/main" id="{A8BEE7A5-1905-1445-CE2C-DA296381BF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1057364 w 9144000"/>
              <a:gd name="connsiteY0" fmla="*/ 4492454 h 5143500"/>
              <a:gd name="connsiteX1" fmla="*/ 1057344 w 9144000"/>
              <a:gd name="connsiteY1" fmla="*/ 4492644 h 5143500"/>
              <a:gd name="connsiteX2" fmla="*/ 1057363 w 9144000"/>
              <a:gd name="connsiteY2" fmla="*/ 4492454 h 5143500"/>
              <a:gd name="connsiteX3" fmla="*/ 1353958 w 9144000"/>
              <a:gd name="connsiteY3" fmla="*/ 4402402 h 5143500"/>
              <a:gd name="connsiteX4" fmla="*/ 1383444 w 9144000"/>
              <a:gd name="connsiteY4" fmla="*/ 4402402 h 5143500"/>
              <a:gd name="connsiteX5" fmla="*/ 1378715 w 9144000"/>
              <a:gd name="connsiteY5" fmla="*/ 4453446 h 5143500"/>
              <a:gd name="connsiteX6" fmla="*/ 1349540 w 9144000"/>
              <a:gd name="connsiteY6" fmla="*/ 4453446 h 5143500"/>
              <a:gd name="connsiteX7" fmla="*/ 1944239 w 9144000"/>
              <a:gd name="connsiteY7" fmla="*/ 4309441 h 5143500"/>
              <a:gd name="connsiteX8" fmla="*/ 1973177 w 9144000"/>
              <a:gd name="connsiteY8" fmla="*/ 4309766 h 5143500"/>
              <a:gd name="connsiteX9" fmla="*/ 1966349 w 9144000"/>
              <a:gd name="connsiteY9" fmla="*/ 4378048 h 5143500"/>
              <a:gd name="connsiteX10" fmla="*/ 1937411 w 9144000"/>
              <a:gd name="connsiteY10" fmla="*/ 4378048 h 5143500"/>
              <a:gd name="connsiteX11" fmla="*/ 1099203 w 9144000"/>
              <a:gd name="connsiteY11" fmla="*/ 4272573 h 5143500"/>
              <a:gd name="connsiteX12" fmla="*/ 1098971 w 9144000"/>
              <a:gd name="connsiteY12" fmla="*/ 4274874 h 5143500"/>
              <a:gd name="connsiteX13" fmla="*/ 1098971 w 9144000"/>
              <a:gd name="connsiteY13" fmla="*/ 4274874 h 5143500"/>
              <a:gd name="connsiteX14" fmla="*/ 961317 w 9144000"/>
              <a:gd name="connsiteY14" fmla="*/ 4246095 h 5143500"/>
              <a:gd name="connsiteX15" fmla="*/ 936860 w 9144000"/>
              <a:gd name="connsiteY15" fmla="*/ 4518725 h 5143500"/>
              <a:gd name="connsiteX16" fmla="*/ 971720 w 9144000"/>
              <a:gd name="connsiteY16" fmla="*/ 4518725 h 5143500"/>
              <a:gd name="connsiteX17" fmla="*/ 1025402 w 9144000"/>
              <a:gd name="connsiteY17" fmla="*/ 4518725 h 5143500"/>
              <a:gd name="connsiteX18" fmla="*/ 1029271 w 9144000"/>
              <a:gd name="connsiteY18" fmla="*/ 4518725 h 5143500"/>
              <a:gd name="connsiteX19" fmla="*/ 1029271 w 9144000"/>
              <a:gd name="connsiteY19" fmla="*/ 4518335 h 5143500"/>
              <a:gd name="connsiteX20" fmla="*/ 1031972 w 9144000"/>
              <a:gd name="connsiteY20" fmla="*/ 4518063 h 5143500"/>
              <a:gd name="connsiteX21" fmla="*/ 1048453 w 9144000"/>
              <a:gd name="connsiteY21" fmla="*/ 4509178 h 5143500"/>
              <a:gd name="connsiteX22" fmla="*/ 1054376 w 9144000"/>
              <a:gd name="connsiteY22" fmla="*/ 4500392 h 5143500"/>
              <a:gd name="connsiteX23" fmla="*/ 1055440 w 9144000"/>
              <a:gd name="connsiteY23" fmla="*/ 4498815 h 5143500"/>
              <a:gd name="connsiteX24" fmla="*/ 1057339 w 9144000"/>
              <a:gd name="connsiteY24" fmla="*/ 4492697 h 5143500"/>
              <a:gd name="connsiteX25" fmla="*/ 1057344 w 9144000"/>
              <a:gd name="connsiteY25" fmla="*/ 4492644 h 5143500"/>
              <a:gd name="connsiteX26" fmla="*/ 1094490 w 9144000"/>
              <a:gd name="connsiteY26" fmla="*/ 4395663 h 5143500"/>
              <a:gd name="connsiteX27" fmla="*/ 1082125 w 9144000"/>
              <a:gd name="connsiteY27" fmla="*/ 4518725 h 5143500"/>
              <a:gd name="connsiteX28" fmla="*/ 1198456 w 9144000"/>
              <a:gd name="connsiteY28" fmla="*/ 4518725 h 5143500"/>
              <a:gd name="connsiteX29" fmla="*/ 1222914 w 9144000"/>
              <a:gd name="connsiteY29" fmla="*/ 4246095 h 5143500"/>
              <a:gd name="connsiteX30" fmla="*/ 1190741 w 9144000"/>
              <a:gd name="connsiteY30" fmla="*/ 4246095 h 5143500"/>
              <a:gd name="connsiteX31" fmla="*/ 1131184 w 9144000"/>
              <a:gd name="connsiteY31" fmla="*/ 4246095 h 5143500"/>
              <a:gd name="connsiteX32" fmla="*/ 1127141 w 9144000"/>
              <a:gd name="connsiteY32" fmla="*/ 4246095 h 5143500"/>
              <a:gd name="connsiteX33" fmla="*/ 1127141 w 9144000"/>
              <a:gd name="connsiteY33" fmla="*/ 4246502 h 5143500"/>
              <a:gd name="connsiteX34" fmla="*/ 1124614 w 9144000"/>
              <a:gd name="connsiteY34" fmla="*/ 4246757 h 5143500"/>
              <a:gd name="connsiteX35" fmla="*/ 1108134 w 9144000"/>
              <a:gd name="connsiteY35" fmla="*/ 4255643 h 5143500"/>
              <a:gd name="connsiteX36" fmla="*/ 1101505 w 9144000"/>
              <a:gd name="connsiteY36" fmla="*/ 4265474 h 5143500"/>
              <a:gd name="connsiteX37" fmla="*/ 1101148 w 9144000"/>
              <a:gd name="connsiteY37" fmla="*/ 4266005 h 5143500"/>
              <a:gd name="connsiteX38" fmla="*/ 1099248 w 9144000"/>
              <a:gd name="connsiteY38" fmla="*/ 4272124 h 5143500"/>
              <a:gd name="connsiteX39" fmla="*/ 1099203 w 9144000"/>
              <a:gd name="connsiteY39" fmla="*/ 4272573 h 5143500"/>
              <a:gd name="connsiteX40" fmla="*/ 1062390 w 9144000"/>
              <a:gd name="connsiteY40" fmla="*/ 4386065 h 5143500"/>
              <a:gd name="connsiteX41" fmla="*/ 1077175 w 9144000"/>
              <a:gd name="connsiteY41" fmla="*/ 4246095 h 5143500"/>
              <a:gd name="connsiteX42" fmla="*/ 699828 w 9144000"/>
              <a:gd name="connsiteY42" fmla="*/ 4246095 h 5143500"/>
              <a:gd name="connsiteX43" fmla="*/ 669791 w 9144000"/>
              <a:gd name="connsiteY43" fmla="*/ 4266005 h 5143500"/>
              <a:gd name="connsiteX44" fmla="*/ 668360 w 9144000"/>
              <a:gd name="connsiteY44" fmla="*/ 4270614 h 5143500"/>
              <a:gd name="connsiteX45" fmla="*/ 667428 w 9144000"/>
              <a:gd name="connsiteY45" fmla="*/ 4280672 h 5143500"/>
              <a:gd name="connsiteX46" fmla="*/ 667429 w 9144000"/>
              <a:gd name="connsiteY46" fmla="*/ 4280672 h 5143500"/>
              <a:gd name="connsiteX47" fmla="*/ 648408 w 9144000"/>
              <a:gd name="connsiteY47" fmla="*/ 4486019 h 5143500"/>
              <a:gd name="connsiteX48" fmla="*/ 648334 w 9144000"/>
              <a:gd name="connsiteY48" fmla="*/ 4486809 h 5143500"/>
              <a:gd name="connsiteX49" fmla="*/ 648993 w 9144000"/>
              <a:gd name="connsiteY49" fmla="*/ 4493346 h 5143500"/>
              <a:gd name="connsiteX50" fmla="*/ 674360 w 9144000"/>
              <a:gd name="connsiteY50" fmla="*/ 4518713 h 5143500"/>
              <a:gd name="connsiteX51" fmla="*/ 674478 w 9144000"/>
              <a:gd name="connsiteY51" fmla="*/ 4518725 h 5143500"/>
              <a:gd name="connsiteX52" fmla="*/ 687381 w 9144000"/>
              <a:gd name="connsiteY52" fmla="*/ 4518725 h 5143500"/>
              <a:gd name="connsiteX53" fmla="*/ 871827 w 9144000"/>
              <a:gd name="connsiteY53" fmla="*/ 4518725 h 5143500"/>
              <a:gd name="connsiteX54" fmla="*/ 871828 w 9144000"/>
              <a:gd name="connsiteY54" fmla="*/ 4518725 h 5143500"/>
              <a:gd name="connsiteX55" fmla="*/ 884730 w 9144000"/>
              <a:gd name="connsiteY55" fmla="*/ 4518725 h 5143500"/>
              <a:gd name="connsiteX56" fmla="*/ 884849 w 9144000"/>
              <a:gd name="connsiteY56" fmla="*/ 4518713 h 5143500"/>
              <a:gd name="connsiteX57" fmla="*/ 908315 w 9144000"/>
              <a:gd name="connsiteY57" fmla="*/ 4499466 h 5143500"/>
              <a:gd name="connsiteX58" fmla="*/ 909292 w 9144000"/>
              <a:gd name="connsiteY58" fmla="*/ 4496318 h 5143500"/>
              <a:gd name="connsiteX59" fmla="*/ 910279 w 9144000"/>
              <a:gd name="connsiteY59" fmla="*/ 4485672 h 5143500"/>
              <a:gd name="connsiteX60" fmla="*/ 910591 w 9144000"/>
              <a:gd name="connsiteY60" fmla="*/ 4485672 h 5143500"/>
              <a:gd name="connsiteX61" fmla="*/ 910591 w 9144000"/>
              <a:gd name="connsiteY61" fmla="*/ 4482300 h 5143500"/>
              <a:gd name="connsiteX62" fmla="*/ 918561 w 9144000"/>
              <a:gd name="connsiteY62" fmla="*/ 4396256 h 5143500"/>
              <a:gd name="connsiteX63" fmla="*/ 802457 w 9144000"/>
              <a:gd name="connsiteY63" fmla="*/ 4396256 h 5143500"/>
              <a:gd name="connsiteX64" fmla="*/ 797159 w 9144000"/>
              <a:gd name="connsiteY64" fmla="*/ 4453446 h 5143500"/>
              <a:gd name="connsiteX65" fmla="*/ 767116 w 9144000"/>
              <a:gd name="connsiteY65" fmla="*/ 4453446 h 5143500"/>
              <a:gd name="connsiteX66" fmla="*/ 780324 w 9144000"/>
              <a:gd name="connsiteY66" fmla="*/ 4310859 h 5143500"/>
              <a:gd name="connsiteX67" fmla="*/ 810367 w 9144000"/>
              <a:gd name="connsiteY67" fmla="*/ 4310859 h 5143500"/>
              <a:gd name="connsiteX68" fmla="*/ 805499 w 9144000"/>
              <a:gd name="connsiteY68" fmla="*/ 4363416 h 5143500"/>
              <a:gd name="connsiteX69" fmla="*/ 921603 w 9144000"/>
              <a:gd name="connsiteY69" fmla="*/ 4363416 h 5143500"/>
              <a:gd name="connsiteX70" fmla="*/ 928739 w 9144000"/>
              <a:gd name="connsiteY70" fmla="*/ 4286385 h 5143500"/>
              <a:gd name="connsiteX71" fmla="*/ 929679 w 9144000"/>
              <a:gd name="connsiteY71" fmla="*/ 4276232 h 5143500"/>
              <a:gd name="connsiteX72" fmla="*/ 929222 w 9144000"/>
              <a:gd name="connsiteY72" fmla="*/ 4271691 h 5143500"/>
              <a:gd name="connsiteX73" fmla="*/ 903855 w 9144000"/>
              <a:gd name="connsiteY73" fmla="*/ 4246324 h 5143500"/>
              <a:gd name="connsiteX74" fmla="*/ 901585 w 9144000"/>
              <a:gd name="connsiteY74" fmla="*/ 4246095 h 5143500"/>
              <a:gd name="connsiteX75" fmla="*/ 892984 w 9144000"/>
              <a:gd name="connsiteY75" fmla="*/ 4246095 h 5143500"/>
              <a:gd name="connsiteX76" fmla="*/ 1803745 w 9144000"/>
              <a:gd name="connsiteY76" fmla="*/ 4246065 h 5143500"/>
              <a:gd name="connsiteX77" fmla="*/ 1688592 w 9144000"/>
              <a:gd name="connsiteY77" fmla="*/ 4246079 h 5143500"/>
              <a:gd name="connsiteX78" fmla="*/ 1677219 w 9144000"/>
              <a:gd name="connsiteY78" fmla="*/ 4370674 h 5143500"/>
              <a:gd name="connsiteX79" fmla="*/ 1648255 w 9144000"/>
              <a:gd name="connsiteY79" fmla="*/ 4370241 h 5143500"/>
              <a:gd name="connsiteX80" fmla="*/ 1659108 w 9144000"/>
              <a:gd name="connsiteY80" fmla="*/ 4246081 h 5143500"/>
              <a:gd name="connsiteX81" fmla="*/ 1542433 w 9144000"/>
              <a:gd name="connsiteY81" fmla="*/ 4246095 h 5143500"/>
              <a:gd name="connsiteX82" fmla="*/ 1529943 w 9144000"/>
              <a:gd name="connsiteY82" fmla="*/ 4387363 h 5143500"/>
              <a:gd name="connsiteX83" fmla="*/ 1529090 w 9144000"/>
              <a:gd name="connsiteY83" fmla="*/ 4397002 h 5143500"/>
              <a:gd name="connsiteX84" fmla="*/ 1529565 w 9144000"/>
              <a:gd name="connsiteY84" fmla="*/ 4401717 h 5143500"/>
              <a:gd name="connsiteX85" fmla="*/ 1548813 w 9144000"/>
              <a:gd name="connsiteY85" fmla="*/ 4425184 h 5143500"/>
              <a:gd name="connsiteX86" fmla="*/ 1554262 w 9144000"/>
              <a:gd name="connsiteY86" fmla="*/ 4426876 h 5143500"/>
              <a:gd name="connsiteX87" fmla="*/ 1568647 w 9144000"/>
              <a:gd name="connsiteY87" fmla="*/ 4426905 h 5143500"/>
              <a:gd name="connsiteX88" fmla="*/ 1671692 w 9144000"/>
              <a:gd name="connsiteY88" fmla="*/ 4427113 h 5143500"/>
              <a:gd name="connsiteX89" fmla="*/ 1669564 w 9144000"/>
              <a:gd name="connsiteY89" fmla="*/ 4454312 h 5143500"/>
              <a:gd name="connsiteX90" fmla="*/ 1524038 w 9144000"/>
              <a:gd name="connsiteY90" fmla="*/ 4454132 h 5143500"/>
              <a:gd name="connsiteX91" fmla="*/ 1518327 w 9144000"/>
              <a:gd name="connsiteY91" fmla="*/ 4518725 h 5143500"/>
              <a:gd name="connsiteX92" fmla="*/ 1743799 w 9144000"/>
              <a:gd name="connsiteY92" fmla="*/ 4518725 h 5143500"/>
              <a:gd name="connsiteX93" fmla="*/ 1743800 w 9144000"/>
              <a:gd name="connsiteY93" fmla="*/ 4518725 h 5143500"/>
              <a:gd name="connsiteX94" fmla="*/ 1756702 w 9144000"/>
              <a:gd name="connsiteY94" fmla="*/ 4518725 h 5143500"/>
              <a:gd name="connsiteX95" fmla="*/ 1756820 w 9144000"/>
              <a:gd name="connsiteY95" fmla="*/ 4518713 h 5143500"/>
              <a:gd name="connsiteX96" fmla="*/ 1780288 w 9144000"/>
              <a:gd name="connsiteY96" fmla="*/ 4499466 h 5143500"/>
              <a:gd name="connsiteX97" fmla="*/ 1781264 w 9144000"/>
              <a:gd name="connsiteY97" fmla="*/ 4496318 h 5143500"/>
              <a:gd name="connsiteX98" fmla="*/ 1782250 w 9144000"/>
              <a:gd name="connsiteY98" fmla="*/ 4485672 h 5143500"/>
              <a:gd name="connsiteX99" fmla="*/ 1782563 w 9144000"/>
              <a:gd name="connsiteY99" fmla="*/ 4485672 h 5143500"/>
              <a:gd name="connsiteX100" fmla="*/ 1782563 w 9144000"/>
              <a:gd name="connsiteY100" fmla="*/ 4482300 h 5143500"/>
              <a:gd name="connsiteX101" fmla="*/ 1513330 w 9144000"/>
              <a:gd name="connsiteY101" fmla="*/ 4246065 h 5143500"/>
              <a:gd name="connsiteX102" fmla="*/ 1252018 w 9144000"/>
              <a:gd name="connsiteY102" fmla="*/ 4246095 h 5143500"/>
              <a:gd name="connsiteX103" fmla="*/ 1227912 w 9144000"/>
              <a:gd name="connsiteY103" fmla="*/ 4518725 h 5143500"/>
              <a:gd name="connsiteX104" fmla="*/ 1453383 w 9144000"/>
              <a:gd name="connsiteY104" fmla="*/ 4518725 h 5143500"/>
              <a:gd name="connsiteX105" fmla="*/ 1453384 w 9144000"/>
              <a:gd name="connsiteY105" fmla="*/ 4518725 h 5143500"/>
              <a:gd name="connsiteX106" fmla="*/ 1466287 w 9144000"/>
              <a:gd name="connsiteY106" fmla="*/ 4518725 h 5143500"/>
              <a:gd name="connsiteX107" fmla="*/ 1466405 w 9144000"/>
              <a:gd name="connsiteY107" fmla="*/ 4518713 h 5143500"/>
              <a:gd name="connsiteX108" fmla="*/ 1489872 w 9144000"/>
              <a:gd name="connsiteY108" fmla="*/ 4499466 h 5143500"/>
              <a:gd name="connsiteX109" fmla="*/ 1490849 w 9144000"/>
              <a:gd name="connsiteY109" fmla="*/ 4496318 h 5143500"/>
              <a:gd name="connsiteX110" fmla="*/ 1491835 w 9144000"/>
              <a:gd name="connsiteY110" fmla="*/ 4485672 h 5143500"/>
              <a:gd name="connsiteX111" fmla="*/ 1492147 w 9144000"/>
              <a:gd name="connsiteY111" fmla="*/ 4485672 h 5143500"/>
              <a:gd name="connsiteX112" fmla="*/ 1492147 w 9144000"/>
              <a:gd name="connsiteY112" fmla="*/ 4482300 h 5143500"/>
              <a:gd name="connsiteX113" fmla="*/ 1498686 w 9144000"/>
              <a:gd name="connsiteY113" fmla="*/ 4411715 h 5143500"/>
              <a:gd name="connsiteX114" fmla="*/ 1498942 w 9144000"/>
              <a:gd name="connsiteY114" fmla="*/ 4411715 h 5143500"/>
              <a:gd name="connsiteX115" fmla="*/ 1502072 w 9144000"/>
              <a:gd name="connsiteY115" fmla="*/ 4377928 h 5143500"/>
              <a:gd name="connsiteX116" fmla="*/ 1503013 w 9144000"/>
              <a:gd name="connsiteY116" fmla="*/ 4367776 h 5143500"/>
              <a:gd name="connsiteX117" fmla="*/ 1502555 w 9144000"/>
              <a:gd name="connsiteY117" fmla="*/ 4363234 h 5143500"/>
              <a:gd name="connsiteX118" fmla="*/ 1477188 w 9144000"/>
              <a:gd name="connsiteY118" fmla="*/ 4337867 h 5143500"/>
              <a:gd name="connsiteX119" fmla="*/ 1474919 w 9144000"/>
              <a:gd name="connsiteY119" fmla="*/ 4337638 h 5143500"/>
              <a:gd name="connsiteX120" fmla="*/ 1466317 w 9144000"/>
              <a:gd name="connsiteY120" fmla="*/ 4337638 h 5143500"/>
              <a:gd name="connsiteX121" fmla="*/ 1359562 w 9144000"/>
              <a:gd name="connsiteY121" fmla="*/ 4337638 h 5143500"/>
              <a:gd name="connsiteX122" fmla="*/ 1361880 w 9144000"/>
              <a:gd name="connsiteY122" fmla="*/ 4310859 h 5143500"/>
              <a:gd name="connsiteX123" fmla="*/ 1507929 w 9144000"/>
              <a:gd name="connsiteY123" fmla="*/ 4310525 h 5143500"/>
              <a:gd name="connsiteX124" fmla="*/ 1833295 w 9144000"/>
              <a:gd name="connsiteY124" fmla="*/ 4245444 h 5143500"/>
              <a:gd name="connsiteX125" fmla="*/ 1816869 w 9144000"/>
              <a:gd name="connsiteY125" fmla="*/ 4433919 h 5143500"/>
              <a:gd name="connsiteX126" fmla="*/ 1809484 w 9144000"/>
              <a:gd name="connsiteY126" fmla="*/ 4518659 h 5143500"/>
              <a:gd name="connsiteX127" fmla="*/ 1925316 w 9144000"/>
              <a:gd name="connsiteY127" fmla="*/ 4518725 h 5143500"/>
              <a:gd name="connsiteX128" fmla="*/ 1932607 w 9144000"/>
              <a:gd name="connsiteY128" fmla="*/ 4433919 h 5143500"/>
              <a:gd name="connsiteX129" fmla="*/ 2042262 w 9144000"/>
              <a:gd name="connsiteY129" fmla="*/ 4433919 h 5143500"/>
              <a:gd name="connsiteX130" fmla="*/ 2042263 w 9144000"/>
              <a:gd name="connsiteY130" fmla="*/ 4433919 h 5143500"/>
              <a:gd name="connsiteX131" fmla="*/ 2055176 w 9144000"/>
              <a:gd name="connsiteY131" fmla="*/ 4433919 h 5143500"/>
              <a:gd name="connsiteX132" fmla="*/ 2055294 w 9144000"/>
              <a:gd name="connsiteY132" fmla="*/ 4433906 h 5143500"/>
              <a:gd name="connsiteX133" fmla="*/ 2078782 w 9144000"/>
              <a:gd name="connsiteY133" fmla="*/ 4413959 h 5143500"/>
              <a:gd name="connsiteX134" fmla="*/ 2079760 w 9144000"/>
              <a:gd name="connsiteY134" fmla="*/ 4410697 h 5143500"/>
              <a:gd name="connsiteX135" fmla="*/ 2080747 w 9144000"/>
              <a:gd name="connsiteY135" fmla="*/ 4399663 h 5143500"/>
              <a:gd name="connsiteX136" fmla="*/ 2081059 w 9144000"/>
              <a:gd name="connsiteY136" fmla="*/ 4399663 h 5143500"/>
              <a:gd name="connsiteX137" fmla="*/ 2081059 w 9144000"/>
              <a:gd name="connsiteY137" fmla="*/ 4396169 h 5143500"/>
              <a:gd name="connsiteX138" fmla="*/ 2087604 w 9144000"/>
              <a:gd name="connsiteY138" fmla="*/ 4323017 h 5143500"/>
              <a:gd name="connsiteX139" fmla="*/ 2087861 w 9144000"/>
              <a:gd name="connsiteY139" fmla="*/ 4323017 h 5143500"/>
              <a:gd name="connsiteX140" fmla="*/ 2089255 w 9144000"/>
              <a:gd name="connsiteY140" fmla="*/ 4307426 h 5143500"/>
              <a:gd name="connsiteX141" fmla="*/ 2089256 w 9144000"/>
              <a:gd name="connsiteY141" fmla="*/ 4307426 h 5143500"/>
              <a:gd name="connsiteX142" fmla="*/ 2090993 w 9144000"/>
              <a:gd name="connsiteY142" fmla="*/ 4288001 h 5143500"/>
              <a:gd name="connsiteX143" fmla="*/ 2091934 w 9144000"/>
              <a:gd name="connsiteY143" fmla="*/ 4277481 h 5143500"/>
              <a:gd name="connsiteX144" fmla="*/ 2091476 w 9144000"/>
              <a:gd name="connsiteY144" fmla="*/ 4272774 h 5143500"/>
              <a:gd name="connsiteX145" fmla="*/ 2066087 w 9144000"/>
              <a:gd name="connsiteY145" fmla="*/ 4246485 h 5143500"/>
              <a:gd name="connsiteX146" fmla="*/ 2063816 w 9144000"/>
              <a:gd name="connsiteY146" fmla="*/ 4246248 h 5143500"/>
              <a:gd name="connsiteX147" fmla="*/ 2055207 w 9144000"/>
              <a:gd name="connsiteY147" fmla="*/ 4246248 h 5143500"/>
              <a:gd name="connsiteX148" fmla="*/ 1948360 w 9144000"/>
              <a:gd name="connsiteY148" fmla="*/ 4246248 h 5143500"/>
              <a:gd name="connsiteX149" fmla="*/ 1948427 w 9144000"/>
              <a:gd name="connsiteY149" fmla="*/ 4245444 h 5143500"/>
              <a:gd name="connsiteX150" fmla="*/ 0 w 9144000"/>
              <a:gd name="connsiteY150" fmla="*/ 0 h 5143500"/>
              <a:gd name="connsiteX151" fmla="*/ 9144000 w 9144000"/>
              <a:gd name="connsiteY151" fmla="*/ 0 h 5143500"/>
              <a:gd name="connsiteX152" fmla="*/ 9144000 w 9144000"/>
              <a:gd name="connsiteY152" fmla="*/ 5143500 h 5143500"/>
              <a:gd name="connsiteX153" fmla="*/ 0 w 9144000"/>
              <a:gd name="connsiteY15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9144000" h="5143500">
                <a:moveTo>
                  <a:pt x="1057364" y="4492454"/>
                </a:moveTo>
                <a:lnTo>
                  <a:pt x="1057344" y="4492644"/>
                </a:lnTo>
                <a:lnTo>
                  <a:pt x="1057363" y="4492454"/>
                </a:lnTo>
                <a:close/>
                <a:moveTo>
                  <a:pt x="1353958" y="4402402"/>
                </a:moveTo>
                <a:lnTo>
                  <a:pt x="1383444" y="4402402"/>
                </a:lnTo>
                <a:lnTo>
                  <a:pt x="1378715" y="4453446"/>
                </a:lnTo>
                <a:lnTo>
                  <a:pt x="1349540" y="4453446"/>
                </a:lnTo>
                <a:close/>
                <a:moveTo>
                  <a:pt x="1944239" y="4309441"/>
                </a:moveTo>
                <a:lnTo>
                  <a:pt x="1973177" y="4309766"/>
                </a:lnTo>
                <a:lnTo>
                  <a:pt x="1966349" y="4378048"/>
                </a:lnTo>
                <a:lnTo>
                  <a:pt x="1937411" y="4378048"/>
                </a:lnTo>
                <a:close/>
                <a:moveTo>
                  <a:pt x="1099203" y="4272573"/>
                </a:moveTo>
                <a:lnTo>
                  <a:pt x="1098971" y="4274874"/>
                </a:lnTo>
                <a:lnTo>
                  <a:pt x="1098971" y="4274874"/>
                </a:lnTo>
                <a:close/>
                <a:moveTo>
                  <a:pt x="961317" y="4246095"/>
                </a:moveTo>
                <a:lnTo>
                  <a:pt x="936860" y="4518725"/>
                </a:lnTo>
                <a:lnTo>
                  <a:pt x="971720" y="4518725"/>
                </a:lnTo>
                <a:lnTo>
                  <a:pt x="1025402" y="4518725"/>
                </a:lnTo>
                <a:lnTo>
                  <a:pt x="1029271" y="4518725"/>
                </a:lnTo>
                <a:lnTo>
                  <a:pt x="1029271" y="4518335"/>
                </a:lnTo>
                <a:lnTo>
                  <a:pt x="1031972" y="4518063"/>
                </a:lnTo>
                <a:cubicBezTo>
                  <a:pt x="1038338" y="4516761"/>
                  <a:pt x="1044028" y="4513602"/>
                  <a:pt x="1048453" y="4509178"/>
                </a:cubicBezTo>
                <a:lnTo>
                  <a:pt x="1054376" y="4500392"/>
                </a:lnTo>
                <a:lnTo>
                  <a:pt x="1055440" y="4498815"/>
                </a:lnTo>
                <a:cubicBezTo>
                  <a:pt x="1056264" y="4496865"/>
                  <a:pt x="1056905" y="4494819"/>
                  <a:pt x="1057339" y="4492697"/>
                </a:cubicBezTo>
                <a:lnTo>
                  <a:pt x="1057344" y="4492644"/>
                </a:lnTo>
                <a:lnTo>
                  <a:pt x="1094490" y="4395663"/>
                </a:lnTo>
                <a:lnTo>
                  <a:pt x="1082125" y="4518725"/>
                </a:lnTo>
                <a:lnTo>
                  <a:pt x="1198456" y="4518725"/>
                </a:lnTo>
                <a:lnTo>
                  <a:pt x="1222914" y="4246095"/>
                </a:lnTo>
                <a:lnTo>
                  <a:pt x="1190741" y="4246095"/>
                </a:lnTo>
                <a:lnTo>
                  <a:pt x="1131184" y="4246095"/>
                </a:lnTo>
                <a:lnTo>
                  <a:pt x="1127141" y="4246095"/>
                </a:lnTo>
                <a:lnTo>
                  <a:pt x="1127141" y="4246502"/>
                </a:lnTo>
                <a:lnTo>
                  <a:pt x="1124614" y="4246757"/>
                </a:lnTo>
                <a:cubicBezTo>
                  <a:pt x="1118248" y="4248060"/>
                  <a:pt x="1112558" y="4251219"/>
                  <a:pt x="1108134" y="4255643"/>
                </a:cubicBezTo>
                <a:lnTo>
                  <a:pt x="1101505" y="4265474"/>
                </a:lnTo>
                <a:lnTo>
                  <a:pt x="1101148" y="4266005"/>
                </a:lnTo>
                <a:cubicBezTo>
                  <a:pt x="1100322" y="4267955"/>
                  <a:pt x="1099682" y="4270002"/>
                  <a:pt x="1099248" y="4272124"/>
                </a:cubicBezTo>
                <a:lnTo>
                  <a:pt x="1099203" y="4272573"/>
                </a:lnTo>
                <a:lnTo>
                  <a:pt x="1062390" y="4386065"/>
                </a:lnTo>
                <a:lnTo>
                  <a:pt x="1077175" y="4246095"/>
                </a:lnTo>
                <a:close/>
                <a:moveTo>
                  <a:pt x="699828" y="4246095"/>
                </a:moveTo>
                <a:cubicBezTo>
                  <a:pt x="686325" y="4246095"/>
                  <a:pt x="674740" y="4254305"/>
                  <a:pt x="669791" y="4266005"/>
                </a:cubicBezTo>
                <a:lnTo>
                  <a:pt x="668360" y="4270614"/>
                </a:lnTo>
                <a:lnTo>
                  <a:pt x="667428" y="4280672"/>
                </a:lnTo>
                <a:cubicBezTo>
                  <a:pt x="667428" y="4280672"/>
                  <a:pt x="667429" y="4280672"/>
                  <a:pt x="667429" y="4280672"/>
                </a:cubicBezTo>
                <a:lnTo>
                  <a:pt x="648408" y="4486019"/>
                </a:lnTo>
                <a:lnTo>
                  <a:pt x="648334" y="4486809"/>
                </a:lnTo>
                <a:lnTo>
                  <a:pt x="648993" y="4493346"/>
                </a:lnTo>
                <a:cubicBezTo>
                  <a:pt x="651599" y="4506079"/>
                  <a:pt x="661627" y="4516108"/>
                  <a:pt x="674360" y="4518713"/>
                </a:cubicBezTo>
                <a:lnTo>
                  <a:pt x="674478" y="4518725"/>
                </a:lnTo>
                <a:lnTo>
                  <a:pt x="687381" y="4518725"/>
                </a:lnTo>
                <a:lnTo>
                  <a:pt x="871827" y="4518725"/>
                </a:lnTo>
                <a:lnTo>
                  <a:pt x="871828" y="4518725"/>
                </a:lnTo>
                <a:lnTo>
                  <a:pt x="884730" y="4518725"/>
                </a:lnTo>
                <a:lnTo>
                  <a:pt x="884849" y="4518713"/>
                </a:lnTo>
                <a:cubicBezTo>
                  <a:pt x="895459" y="4516542"/>
                  <a:pt x="904191" y="4509216"/>
                  <a:pt x="908315" y="4499466"/>
                </a:cubicBezTo>
                <a:lnTo>
                  <a:pt x="909292" y="4496318"/>
                </a:lnTo>
                <a:lnTo>
                  <a:pt x="910279" y="4485672"/>
                </a:lnTo>
                <a:lnTo>
                  <a:pt x="910591" y="4485672"/>
                </a:lnTo>
                <a:lnTo>
                  <a:pt x="910591" y="4482300"/>
                </a:lnTo>
                <a:lnTo>
                  <a:pt x="918561" y="4396256"/>
                </a:lnTo>
                <a:lnTo>
                  <a:pt x="802457" y="4396256"/>
                </a:lnTo>
                <a:lnTo>
                  <a:pt x="797159" y="4453446"/>
                </a:lnTo>
                <a:lnTo>
                  <a:pt x="767116" y="4453446"/>
                </a:lnTo>
                <a:lnTo>
                  <a:pt x="780324" y="4310859"/>
                </a:lnTo>
                <a:lnTo>
                  <a:pt x="810367" y="4310859"/>
                </a:lnTo>
                <a:lnTo>
                  <a:pt x="805499" y="4363416"/>
                </a:lnTo>
                <a:lnTo>
                  <a:pt x="921603" y="4363416"/>
                </a:lnTo>
                <a:lnTo>
                  <a:pt x="928739" y="4286385"/>
                </a:lnTo>
                <a:lnTo>
                  <a:pt x="929679" y="4276232"/>
                </a:lnTo>
                <a:lnTo>
                  <a:pt x="929222" y="4271691"/>
                </a:lnTo>
                <a:cubicBezTo>
                  <a:pt x="926616" y="4258958"/>
                  <a:pt x="916586" y="4248929"/>
                  <a:pt x="903855" y="4246324"/>
                </a:cubicBezTo>
                <a:lnTo>
                  <a:pt x="901585" y="4246095"/>
                </a:lnTo>
                <a:lnTo>
                  <a:pt x="892984" y="4246095"/>
                </a:lnTo>
                <a:close/>
                <a:moveTo>
                  <a:pt x="1803745" y="4246065"/>
                </a:moveTo>
                <a:lnTo>
                  <a:pt x="1688592" y="4246079"/>
                </a:lnTo>
                <a:lnTo>
                  <a:pt x="1677219" y="4370674"/>
                </a:lnTo>
                <a:lnTo>
                  <a:pt x="1648255" y="4370241"/>
                </a:lnTo>
                <a:lnTo>
                  <a:pt x="1659108" y="4246081"/>
                </a:lnTo>
                <a:lnTo>
                  <a:pt x="1542433" y="4246095"/>
                </a:lnTo>
                <a:lnTo>
                  <a:pt x="1529943" y="4387363"/>
                </a:lnTo>
                <a:lnTo>
                  <a:pt x="1529090" y="4397002"/>
                </a:lnTo>
                <a:lnTo>
                  <a:pt x="1529565" y="4401717"/>
                </a:lnTo>
                <a:cubicBezTo>
                  <a:pt x="1531737" y="4412328"/>
                  <a:pt x="1539063" y="4421061"/>
                  <a:pt x="1548813" y="4425184"/>
                </a:cubicBezTo>
                <a:lnTo>
                  <a:pt x="1554262" y="4426876"/>
                </a:lnTo>
                <a:lnTo>
                  <a:pt x="1568647" y="4426905"/>
                </a:lnTo>
                <a:lnTo>
                  <a:pt x="1671692" y="4427113"/>
                </a:lnTo>
                <a:lnTo>
                  <a:pt x="1669564" y="4454312"/>
                </a:lnTo>
                <a:lnTo>
                  <a:pt x="1524038" y="4454132"/>
                </a:lnTo>
                <a:lnTo>
                  <a:pt x="1518327" y="4518725"/>
                </a:lnTo>
                <a:lnTo>
                  <a:pt x="1743799" y="4518725"/>
                </a:lnTo>
                <a:lnTo>
                  <a:pt x="1743800" y="4518725"/>
                </a:lnTo>
                <a:lnTo>
                  <a:pt x="1756702" y="4518725"/>
                </a:lnTo>
                <a:lnTo>
                  <a:pt x="1756820" y="4518713"/>
                </a:lnTo>
                <a:cubicBezTo>
                  <a:pt x="1767431" y="4516542"/>
                  <a:pt x="1776163" y="4509216"/>
                  <a:pt x="1780288" y="4499466"/>
                </a:cubicBezTo>
                <a:lnTo>
                  <a:pt x="1781264" y="4496318"/>
                </a:lnTo>
                <a:lnTo>
                  <a:pt x="1782250" y="4485672"/>
                </a:lnTo>
                <a:lnTo>
                  <a:pt x="1782563" y="4485672"/>
                </a:lnTo>
                <a:lnTo>
                  <a:pt x="1782563" y="4482300"/>
                </a:lnTo>
                <a:close/>
                <a:moveTo>
                  <a:pt x="1513330" y="4246065"/>
                </a:moveTo>
                <a:lnTo>
                  <a:pt x="1252018" y="4246095"/>
                </a:lnTo>
                <a:lnTo>
                  <a:pt x="1227912" y="4518725"/>
                </a:lnTo>
                <a:lnTo>
                  <a:pt x="1453383" y="4518725"/>
                </a:lnTo>
                <a:lnTo>
                  <a:pt x="1453384" y="4518725"/>
                </a:lnTo>
                <a:lnTo>
                  <a:pt x="1466287" y="4518725"/>
                </a:lnTo>
                <a:lnTo>
                  <a:pt x="1466405" y="4518713"/>
                </a:lnTo>
                <a:cubicBezTo>
                  <a:pt x="1477015" y="4516542"/>
                  <a:pt x="1485748" y="4509216"/>
                  <a:pt x="1489872" y="4499466"/>
                </a:cubicBezTo>
                <a:lnTo>
                  <a:pt x="1490849" y="4496318"/>
                </a:lnTo>
                <a:lnTo>
                  <a:pt x="1491835" y="4485672"/>
                </a:lnTo>
                <a:lnTo>
                  <a:pt x="1492147" y="4485672"/>
                </a:lnTo>
                <a:lnTo>
                  <a:pt x="1492147" y="4482300"/>
                </a:lnTo>
                <a:lnTo>
                  <a:pt x="1498686" y="4411715"/>
                </a:lnTo>
                <a:lnTo>
                  <a:pt x="1498942" y="4411715"/>
                </a:lnTo>
                <a:lnTo>
                  <a:pt x="1502072" y="4377928"/>
                </a:lnTo>
                <a:lnTo>
                  <a:pt x="1503013" y="4367776"/>
                </a:lnTo>
                <a:lnTo>
                  <a:pt x="1502555" y="4363234"/>
                </a:lnTo>
                <a:cubicBezTo>
                  <a:pt x="1499949" y="4350501"/>
                  <a:pt x="1489920" y="4340473"/>
                  <a:pt x="1477188" y="4337867"/>
                </a:cubicBezTo>
                <a:lnTo>
                  <a:pt x="1474919" y="4337638"/>
                </a:lnTo>
                <a:lnTo>
                  <a:pt x="1466317" y="4337638"/>
                </a:lnTo>
                <a:lnTo>
                  <a:pt x="1359562" y="4337638"/>
                </a:lnTo>
                <a:lnTo>
                  <a:pt x="1361880" y="4310859"/>
                </a:lnTo>
                <a:lnTo>
                  <a:pt x="1507929" y="4310525"/>
                </a:lnTo>
                <a:close/>
                <a:moveTo>
                  <a:pt x="1833295" y="4245444"/>
                </a:moveTo>
                <a:lnTo>
                  <a:pt x="1816869" y="4433919"/>
                </a:lnTo>
                <a:lnTo>
                  <a:pt x="1809484" y="4518659"/>
                </a:lnTo>
                <a:lnTo>
                  <a:pt x="1925316" y="4518725"/>
                </a:lnTo>
                <a:lnTo>
                  <a:pt x="1932607" y="4433919"/>
                </a:lnTo>
                <a:lnTo>
                  <a:pt x="2042262" y="4433919"/>
                </a:lnTo>
                <a:lnTo>
                  <a:pt x="2042263" y="4433919"/>
                </a:lnTo>
                <a:lnTo>
                  <a:pt x="2055176" y="4433919"/>
                </a:lnTo>
                <a:lnTo>
                  <a:pt x="2055294" y="4433906"/>
                </a:lnTo>
                <a:cubicBezTo>
                  <a:pt x="2065914" y="4431656"/>
                  <a:pt x="2074655" y="4424064"/>
                  <a:pt x="2078782" y="4413959"/>
                </a:cubicBezTo>
                <a:lnTo>
                  <a:pt x="2079760" y="4410697"/>
                </a:lnTo>
                <a:lnTo>
                  <a:pt x="2080747" y="4399663"/>
                </a:lnTo>
                <a:lnTo>
                  <a:pt x="2081059" y="4399663"/>
                </a:lnTo>
                <a:lnTo>
                  <a:pt x="2081059" y="4396169"/>
                </a:lnTo>
                <a:lnTo>
                  <a:pt x="2087604" y="4323017"/>
                </a:lnTo>
                <a:lnTo>
                  <a:pt x="2087861" y="4323017"/>
                </a:lnTo>
                <a:lnTo>
                  <a:pt x="2089255" y="4307426"/>
                </a:lnTo>
                <a:lnTo>
                  <a:pt x="2089256" y="4307426"/>
                </a:lnTo>
                <a:lnTo>
                  <a:pt x="2090993" y="4288001"/>
                </a:lnTo>
                <a:lnTo>
                  <a:pt x="2091934" y="4277481"/>
                </a:lnTo>
                <a:lnTo>
                  <a:pt x="2091476" y="4272774"/>
                </a:lnTo>
                <a:cubicBezTo>
                  <a:pt x="2088868" y="4259578"/>
                  <a:pt x="2078831" y="4249185"/>
                  <a:pt x="2066087" y="4246485"/>
                </a:cubicBezTo>
                <a:lnTo>
                  <a:pt x="2063816" y="4246248"/>
                </a:lnTo>
                <a:lnTo>
                  <a:pt x="2055207" y="4246248"/>
                </a:lnTo>
                <a:lnTo>
                  <a:pt x="1948360" y="4246248"/>
                </a:lnTo>
                <a:lnTo>
                  <a:pt x="1948427" y="4245444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rgbClr val="77E2C3"/>
              </a:gs>
            </a:gsLst>
            <a:lin ang="13500000" scaled="1"/>
            <a:tileRect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ru-RU" sz="1000" dirty="0"/>
            </a:lvl1pPr>
          </a:lstStyle>
          <a:p>
            <a:pPr lvl="0"/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582780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0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Заголовок 10">
            <a:extLst>
              <a:ext uri="{FF2B5EF4-FFF2-40B4-BE49-F238E27FC236}">
                <a16:creationId xmlns:a16="http://schemas.microsoft.com/office/drawing/2014/main" id="{28DBAEBD-A7DB-7520-3FB9-ACAC61AE6B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362774"/>
            <a:ext cx="7807800" cy="2281275"/>
          </a:xfrm>
        </p:spPr>
        <p:txBody>
          <a:bodyPr vert="horz" lIns="0" tIns="0" rIns="0" bIns="0">
            <a:normAutofit/>
          </a:bodyPr>
          <a:lstStyle>
            <a:lvl1pPr mar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4000" b="1" i="0" kern="1200" dirty="0">
                <a:solidFill>
                  <a:schemeClr val="tx1"/>
                </a:solidFill>
                <a:latin typeface="Arial" panose="020B0604020202020204" pitchFamily="34" charset="0"/>
                <a:ea typeface="Roboto Semi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6735040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0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>
            <a:extLst>
              <a:ext uri="{FF2B5EF4-FFF2-40B4-BE49-F238E27FC236}">
                <a16:creationId xmlns:a16="http://schemas.microsoft.com/office/drawing/2014/main" id="{02C5539C-FD36-9EED-F5FC-F7A982C0D8A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1057364 w 9144000"/>
              <a:gd name="connsiteY0" fmla="*/ 4492454 h 5143500"/>
              <a:gd name="connsiteX1" fmla="*/ 1057344 w 9144000"/>
              <a:gd name="connsiteY1" fmla="*/ 4492644 h 5143500"/>
              <a:gd name="connsiteX2" fmla="*/ 1057363 w 9144000"/>
              <a:gd name="connsiteY2" fmla="*/ 4492454 h 5143500"/>
              <a:gd name="connsiteX3" fmla="*/ 1353958 w 9144000"/>
              <a:gd name="connsiteY3" fmla="*/ 4402402 h 5143500"/>
              <a:gd name="connsiteX4" fmla="*/ 1383444 w 9144000"/>
              <a:gd name="connsiteY4" fmla="*/ 4402402 h 5143500"/>
              <a:gd name="connsiteX5" fmla="*/ 1378715 w 9144000"/>
              <a:gd name="connsiteY5" fmla="*/ 4453446 h 5143500"/>
              <a:gd name="connsiteX6" fmla="*/ 1349540 w 9144000"/>
              <a:gd name="connsiteY6" fmla="*/ 4453446 h 5143500"/>
              <a:gd name="connsiteX7" fmla="*/ 1944239 w 9144000"/>
              <a:gd name="connsiteY7" fmla="*/ 4309441 h 5143500"/>
              <a:gd name="connsiteX8" fmla="*/ 1973177 w 9144000"/>
              <a:gd name="connsiteY8" fmla="*/ 4309766 h 5143500"/>
              <a:gd name="connsiteX9" fmla="*/ 1966349 w 9144000"/>
              <a:gd name="connsiteY9" fmla="*/ 4378048 h 5143500"/>
              <a:gd name="connsiteX10" fmla="*/ 1937411 w 9144000"/>
              <a:gd name="connsiteY10" fmla="*/ 4378048 h 5143500"/>
              <a:gd name="connsiteX11" fmla="*/ 1099203 w 9144000"/>
              <a:gd name="connsiteY11" fmla="*/ 4272573 h 5143500"/>
              <a:gd name="connsiteX12" fmla="*/ 1098971 w 9144000"/>
              <a:gd name="connsiteY12" fmla="*/ 4274874 h 5143500"/>
              <a:gd name="connsiteX13" fmla="*/ 1098971 w 9144000"/>
              <a:gd name="connsiteY13" fmla="*/ 4274874 h 5143500"/>
              <a:gd name="connsiteX14" fmla="*/ 961317 w 9144000"/>
              <a:gd name="connsiteY14" fmla="*/ 4246095 h 5143500"/>
              <a:gd name="connsiteX15" fmla="*/ 936860 w 9144000"/>
              <a:gd name="connsiteY15" fmla="*/ 4518725 h 5143500"/>
              <a:gd name="connsiteX16" fmla="*/ 971720 w 9144000"/>
              <a:gd name="connsiteY16" fmla="*/ 4518725 h 5143500"/>
              <a:gd name="connsiteX17" fmla="*/ 1025402 w 9144000"/>
              <a:gd name="connsiteY17" fmla="*/ 4518725 h 5143500"/>
              <a:gd name="connsiteX18" fmla="*/ 1029271 w 9144000"/>
              <a:gd name="connsiteY18" fmla="*/ 4518725 h 5143500"/>
              <a:gd name="connsiteX19" fmla="*/ 1029271 w 9144000"/>
              <a:gd name="connsiteY19" fmla="*/ 4518335 h 5143500"/>
              <a:gd name="connsiteX20" fmla="*/ 1031972 w 9144000"/>
              <a:gd name="connsiteY20" fmla="*/ 4518063 h 5143500"/>
              <a:gd name="connsiteX21" fmla="*/ 1048453 w 9144000"/>
              <a:gd name="connsiteY21" fmla="*/ 4509178 h 5143500"/>
              <a:gd name="connsiteX22" fmla="*/ 1054376 w 9144000"/>
              <a:gd name="connsiteY22" fmla="*/ 4500392 h 5143500"/>
              <a:gd name="connsiteX23" fmla="*/ 1055440 w 9144000"/>
              <a:gd name="connsiteY23" fmla="*/ 4498815 h 5143500"/>
              <a:gd name="connsiteX24" fmla="*/ 1057339 w 9144000"/>
              <a:gd name="connsiteY24" fmla="*/ 4492697 h 5143500"/>
              <a:gd name="connsiteX25" fmla="*/ 1057344 w 9144000"/>
              <a:gd name="connsiteY25" fmla="*/ 4492644 h 5143500"/>
              <a:gd name="connsiteX26" fmla="*/ 1094490 w 9144000"/>
              <a:gd name="connsiteY26" fmla="*/ 4395663 h 5143500"/>
              <a:gd name="connsiteX27" fmla="*/ 1082125 w 9144000"/>
              <a:gd name="connsiteY27" fmla="*/ 4518725 h 5143500"/>
              <a:gd name="connsiteX28" fmla="*/ 1198456 w 9144000"/>
              <a:gd name="connsiteY28" fmla="*/ 4518725 h 5143500"/>
              <a:gd name="connsiteX29" fmla="*/ 1222914 w 9144000"/>
              <a:gd name="connsiteY29" fmla="*/ 4246095 h 5143500"/>
              <a:gd name="connsiteX30" fmla="*/ 1190741 w 9144000"/>
              <a:gd name="connsiteY30" fmla="*/ 4246095 h 5143500"/>
              <a:gd name="connsiteX31" fmla="*/ 1131184 w 9144000"/>
              <a:gd name="connsiteY31" fmla="*/ 4246095 h 5143500"/>
              <a:gd name="connsiteX32" fmla="*/ 1127141 w 9144000"/>
              <a:gd name="connsiteY32" fmla="*/ 4246095 h 5143500"/>
              <a:gd name="connsiteX33" fmla="*/ 1127141 w 9144000"/>
              <a:gd name="connsiteY33" fmla="*/ 4246502 h 5143500"/>
              <a:gd name="connsiteX34" fmla="*/ 1124614 w 9144000"/>
              <a:gd name="connsiteY34" fmla="*/ 4246757 h 5143500"/>
              <a:gd name="connsiteX35" fmla="*/ 1108134 w 9144000"/>
              <a:gd name="connsiteY35" fmla="*/ 4255643 h 5143500"/>
              <a:gd name="connsiteX36" fmla="*/ 1101505 w 9144000"/>
              <a:gd name="connsiteY36" fmla="*/ 4265474 h 5143500"/>
              <a:gd name="connsiteX37" fmla="*/ 1101148 w 9144000"/>
              <a:gd name="connsiteY37" fmla="*/ 4266005 h 5143500"/>
              <a:gd name="connsiteX38" fmla="*/ 1099248 w 9144000"/>
              <a:gd name="connsiteY38" fmla="*/ 4272124 h 5143500"/>
              <a:gd name="connsiteX39" fmla="*/ 1099203 w 9144000"/>
              <a:gd name="connsiteY39" fmla="*/ 4272573 h 5143500"/>
              <a:gd name="connsiteX40" fmla="*/ 1062390 w 9144000"/>
              <a:gd name="connsiteY40" fmla="*/ 4386065 h 5143500"/>
              <a:gd name="connsiteX41" fmla="*/ 1077175 w 9144000"/>
              <a:gd name="connsiteY41" fmla="*/ 4246095 h 5143500"/>
              <a:gd name="connsiteX42" fmla="*/ 699828 w 9144000"/>
              <a:gd name="connsiteY42" fmla="*/ 4246095 h 5143500"/>
              <a:gd name="connsiteX43" fmla="*/ 669791 w 9144000"/>
              <a:gd name="connsiteY43" fmla="*/ 4266005 h 5143500"/>
              <a:gd name="connsiteX44" fmla="*/ 668360 w 9144000"/>
              <a:gd name="connsiteY44" fmla="*/ 4270614 h 5143500"/>
              <a:gd name="connsiteX45" fmla="*/ 667428 w 9144000"/>
              <a:gd name="connsiteY45" fmla="*/ 4280672 h 5143500"/>
              <a:gd name="connsiteX46" fmla="*/ 667429 w 9144000"/>
              <a:gd name="connsiteY46" fmla="*/ 4280672 h 5143500"/>
              <a:gd name="connsiteX47" fmla="*/ 648408 w 9144000"/>
              <a:gd name="connsiteY47" fmla="*/ 4486019 h 5143500"/>
              <a:gd name="connsiteX48" fmla="*/ 648334 w 9144000"/>
              <a:gd name="connsiteY48" fmla="*/ 4486809 h 5143500"/>
              <a:gd name="connsiteX49" fmla="*/ 648993 w 9144000"/>
              <a:gd name="connsiteY49" fmla="*/ 4493346 h 5143500"/>
              <a:gd name="connsiteX50" fmla="*/ 674360 w 9144000"/>
              <a:gd name="connsiteY50" fmla="*/ 4518713 h 5143500"/>
              <a:gd name="connsiteX51" fmla="*/ 674478 w 9144000"/>
              <a:gd name="connsiteY51" fmla="*/ 4518725 h 5143500"/>
              <a:gd name="connsiteX52" fmla="*/ 687381 w 9144000"/>
              <a:gd name="connsiteY52" fmla="*/ 4518725 h 5143500"/>
              <a:gd name="connsiteX53" fmla="*/ 871827 w 9144000"/>
              <a:gd name="connsiteY53" fmla="*/ 4518725 h 5143500"/>
              <a:gd name="connsiteX54" fmla="*/ 871828 w 9144000"/>
              <a:gd name="connsiteY54" fmla="*/ 4518725 h 5143500"/>
              <a:gd name="connsiteX55" fmla="*/ 884730 w 9144000"/>
              <a:gd name="connsiteY55" fmla="*/ 4518725 h 5143500"/>
              <a:gd name="connsiteX56" fmla="*/ 884849 w 9144000"/>
              <a:gd name="connsiteY56" fmla="*/ 4518713 h 5143500"/>
              <a:gd name="connsiteX57" fmla="*/ 908315 w 9144000"/>
              <a:gd name="connsiteY57" fmla="*/ 4499466 h 5143500"/>
              <a:gd name="connsiteX58" fmla="*/ 909292 w 9144000"/>
              <a:gd name="connsiteY58" fmla="*/ 4496318 h 5143500"/>
              <a:gd name="connsiteX59" fmla="*/ 910279 w 9144000"/>
              <a:gd name="connsiteY59" fmla="*/ 4485672 h 5143500"/>
              <a:gd name="connsiteX60" fmla="*/ 910591 w 9144000"/>
              <a:gd name="connsiteY60" fmla="*/ 4485672 h 5143500"/>
              <a:gd name="connsiteX61" fmla="*/ 910591 w 9144000"/>
              <a:gd name="connsiteY61" fmla="*/ 4482300 h 5143500"/>
              <a:gd name="connsiteX62" fmla="*/ 918561 w 9144000"/>
              <a:gd name="connsiteY62" fmla="*/ 4396256 h 5143500"/>
              <a:gd name="connsiteX63" fmla="*/ 802457 w 9144000"/>
              <a:gd name="connsiteY63" fmla="*/ 4396256 h 5143500"/>
              <a:gd name="connsiteX64" fmla="*/ 797159 w 9144000"/>
              <a:gd name="connsiteY64" fmla="*/ 4453446 h 5143500"/>
              <a:gd name="connsiteX65" fmla="*/ 767116 w 9144000"/>
              <a:gd name="connsiteY65" fmla="*/ 4453446 h 5143500"/>
              <a:gd name="connsiteX66" fmla="*/ 780324 w 9144000"/>
              <a:gd name="connsiteY66" fmla="*/ 4310859 h 5143500"/>
              <a:gd name="connsiteX67" fmla="*/ 810367 w 9144000"/>
              <a:gd name="connsiteY67" fmla="*/ 4310859 h 5143500"/>
              <a:gd name="connsiteX68" fmla="*/ 805499 w 9144000"/>
              <a:gd name="connsiteY68" fmla="*/ 4363416 h 5143500"/>
              <a:gd name="connsiteX69" fmla="*/ 921603 w 9144000"/>
              <a:gd name="connsiteY69" fmla="*/ 4363416 h 5143500"/>
              <a:gd name="connsiteX70" fmla="*/ 928739 w 9144000"/>
              <a:gd name="connsiteY70" fmla="*/ 4286385 h 5143500"/>
              <a:gd name="connsiteX71" fmla="*/ 929679 w 9144000"/>
              <a:gd name="connsiteY71" fmla="*/ 4276232 h 5143500"/>
              <a:gd name="connsiteX72" fmla="*/ 929222 w 9144000"/>
              <a:gd name="connsiteY72" fmla="*/ 4271691 h 5143500"/>
              <a:gd name="connsiteX73" fmla="*/ 903855 w 9144000"/>
              <a:gd name="connsiteY73" fmla="*/ 4246324 h 5143500"/>
              <a:gd name="connsiteX74" fmla="*/ 901585 w 9144000"/>
              <a:gd name="connsiteY74" fmla="*/ 4246095 h 5143500"/>
              <a:gd name="connsiteX75" fmla="*/ 892984 w 9144000"/>
              <a:gd name="connsiteY75" fmla="*/ 4246095 h 5143500"/>
              <a:gd name="connsiteX76" fmla="*/ 1803745 w 9144000"/>
              <a:gd name="connsiteY76" fmla="*/ 4246065 h 5143500"/>
              <a:gd name="connsiteX77" fmla="*/ 1688592 w 9144000"/>
              <a:gd name="connsiteY77" fmla="*/ 4246079 h 5143500"/>
              <a:gd name="connsiteX78" fmla="*/ 1677219 w 9144000"/>
              <a:gd name="connsiteY78" fmla="*/ 4370674 h 5143500"/>
              <a:gd name="connsiteX79" fmla="*/ 1648255 w 9144000"/>
              <a:gd name="connsiteY79" fmla="*/ 4370241 h 5143500"/>
              <a:gd name="connsiteX80" fmla="*/ 1659108 w 9144000"/>
              <a:gd name="connsiteY80" fmla="*/ 4246081 h 5143500"/>
              <a:gd name="connsiteX81" fmla="*/ 1542433 w 9144000"/>
              <a:gd name="connsiteY81" fmla="*/ 4246095 h 5143500"/>
              <a:gd name="connsiteX82" fmla="*/ 1529943 w 9144000"/>
              <a:gd name="connsiteY82" fmla="*/ 4387363 h 5143500"/>
              <a:gd name="connsiteX83" fmla="*/ 1529090 w 9144000"/>
              <a:gd name="connsiteY83" fmla="*/ 4397002 h 5143500"/>
              <a:gd name="connsiteX84" fmla="*/ 1529565 w 9144000"/>
              <a:gd name="connsiteY84" fmla="*/ 4401717 h 5143500"/>
              <a:gd name="connsiteX85" fmla="*/ 1548813 w 9144000"/>
              <a:gd name="connsiteY85" fmla="*/ 4425184 h 5143500"/>
              <a:gd name="connsiteX86" fmla="*/ 1554262 w 9144000"/>
              <a:gd name="connsiteY86" fmla="*/ 4426876 h 5143500"/>
              <a:gd name="connsiteX87" fmla="*/ 1568647 w 9144000"/>
              <a:gd name="connsiteY87" fmla="*/ 4426905 h 5143500"/>
              <a:gd name="connsiteX88" fmla="*/ 1671692 w 9144000"/>
              <a:gd name="connsiteY88" fmla="*/ 4427113 h 5143500"/>
              <a:gd name="connsiteX89" fmla="*/ 1669564 w 9144000"/>
              <a:gd name="connsiteY89" fmla="*/ 4454312 h 5143500"/>
              <a:gd name="connsiteX90" fmla="*/ 1524038 w 9144000"/>
              <a:gd name="connsiteY90" fmla="*/ 4454132 h 5143500"/>
              <a:gd name="connsiteX91" fmla="*/ 1518327 w 9144000"/>
              <a:gd name="connsiteY91" fmla="*/ 4518725 h 5143500"/>
              <a:gd name="connsiteX92" fmla="*/ 1743799 w 9144000"/>
              <a:gd name="connsiteY92" fmla="*/ 4518725 h 5143500"/>
              <a:gd name="connsiteX93" fmla="*/ 1743800 w 9144000"/>
              <a:gd name="connsiteY93" fmla="*/ 4518725 h 5143500"/>
              <a:gd name="connsiteX94" fmla="*/ 1756702 w 9144000"/>
              <a:gd name="connsiteY94" fmla="*/ 4518725 h 5143500"/>
              <a:gd name="connsiteX95" fmla="*/ 1756820 w 9144000"/>
              <a:gd name="connsiteY95" fmla="*/ 4518713 h 5143500"/>
              <a:gd name="connsiteX96" fmla="*/ 1780288 w 9144000"/>
              <a:gd name="connsiteY96" fmla="*/ 4499466 h 5143500"/>
              <a:gd name="connsiteX97" fmla="*/ 1781264 w 9144000"/>
              <a:gd name="connsiteY97" fmla="*/ 4496318 h 5143500"/>
              <a:gd name="connsiteX98" fmla="*/ 1782250 w 9144000"/>
              <a:gd name="connsiteY98" fmla="*/ 4485672 h 5143500"/>
              <a:gd name="connsiteX99" fmla="*/ 1782563 w 9144000"/>
              <a:gd name="connsiteY99" fmla="*/ 4485672 h 5143500"/>
              <a:gd name="connsiteX100" fmla="*/ 1782563 w 9144000"/>
              <a:gd name="connsiteY100" fmla="*/ 4482300 h 5143500"/>
              <a:gd name="connsiteX101" fmla="*/ 1513330 w 9144000"/>
              <a:gd name="connsiteY101" fmla="*/ 4246065 h 5143500"/>
              <a:gd name="connsiteX102" fmla="*/ 1252018 w 9144000"/>
              <a:gd name="connsiteY102" fmla="*/ 4246095 h 5143500"/>
              <a:gd name="connsiteX103" fmla="*/ 1227912 w 9144000"/>
              <a:gd name="connsiteY103" fmla="*/ 4518725 h 5143500"/>
              <a:gd name="connsiteX104" fmla="*/ 1453383 w 9144000"/>
              <a:gd name="connsiteY104" fmla="*/ 4518725 h 5143500"/>
              <a:gd name="connsiteX105" fmla="*/ 1453384 w 9144000"/>
              <a:gd name="connsiteY105" fmla="*/ 4518725 h 5143500"/>
              <a:gd name="connsiteX106" fmla="*/ 1466287 w 9144000"/>
              <a:gd name="connsiteY106" fmla="*/ 4518725 h 5143500"/>
              <a:gd name="connsiteX107" fmla="*/ 1466405 w 9144000"/>
              <a:gd name="connsiteY107" fmla="*/ 4518713 h 5143500"/>
              <a:gd name="connsiteX108" fmla="*/ 1489872 w 9144000"/>
              <a:gd name="connsiteY108" fmla="*/ 4499466 h 5143500"/>
              <a:gd name="connsiteX109" fmla="*/ 1490849 w 9144000"/>
              <a:gd name="connsiteY109" fmla="*/ 4496318 h 5143500"/>
              <a:gd name="connsiteX110" fmla="*/ 1491835 w 9144000"/>
              <a:gd name="connsiteY110" fmla="*/ 4485672 h 5143500"/>
              <a:gd name="connsiteX111" fmla="*/ 1492147 w 9144000"/>
              <a:gd name="connsiteY111" fmla="*/ 4485672 h 5143500"/>
              <a:gd name="connsiteX112" fmla="*/ 1492147 w 9144000"/>
              <a:gd name="connsiteY112" fmla="*/ 4482300 h 5143500"/>
              <a:gd name="connsiteX113" fmla="*/ 1498686 w 9144000"/>
              <a:gd name="connsiteY113" fmla="*/ 4411715 h 5143500"/>
              <a:gd name="connsiteX114" fmla="*/ 1498942 w 9144000"/>
              <a:gd name="connsiteY114" fmla="*/ 4411715 h 5143500"/>
              <a:gd name="connsiteX115" fmla="*/ 1502072 w 9144000"/>
              <a:gd name="connsiteY115" fmla="*/ 4377928 h 5143500"/>
              <a:gd name="connsiteX116" fmla="*/ 1503013 w 9144000"/>
              <a:gd name="connsiteY116" fmla="*/ 4367776 h 5143500"/>
              <a:gd name="connsiteX117" fmla="*/ 1502555 w 9144000"/>
              <a:gd name="connsiteY117" fmla="*/ 4363234 h 5143500"/>
              <a:gd name="connsiteX118" fmla="*/ 1477188 w 9144000"/>
              <a:gd name="connsiteY118" fmla="*/ 4337867 h 5143500"/>
              <a:gd name="connsiteX119" fmla="*/ 1474919 w 9144000"/>
              <a:gd name="connsiteY119" fmla="*/ 4337638 h 5143500"/>
              <a:gd name="connsiteX120" fmla="*/ 1466317 w 9144000"/>
              <a:gd name="connsiteY120" fmla="*/ 4337638 h 5143500"/>
              <a:gd name="connsiteX121" fmla="*/ 1359562 w 9144000"/>
              <a:gd name="connsiteY121" fmla="*/ 4337638 h 5143500"/>
              <a:gd name="connsiteX122" fmla="*/ 1361880 w 9144000"/>
              <a:gd name="connsiteY122" fmla="*/ 4310859 h 5143500"/>
              <a:gd name="connsiteX123" fmla="*/ 1507929 w 9144000"/>
              <a:gd name="connsiteY123" fmla="*/ 4310525 h 5143500"/>
              <a:gd name="connsiteX124" fmla="*/ 1833295 w 9144000"/>
              <a:gd name="connsiteY124" fmla="*/ 4245444 h 5143500"/>
              <a:gd name="connsiteX125" fmla="*/ 1816869 w 9144000"/>
              <a:gd name="connsiteY125" fmla="*/ 4433919 h 5143500"/>
              <a:gd name="connsiteX126" fmla="*/ 1809484 w 9144000"/>
              <a:gd name="connsiteY126" fmla="*/ 4518659 h 5143500"/>
              <a:gd name="connsiteX127" fmla="*/ 1925316 w 9144000"/>
              <a:gd name="connsiteY127" fmla="*/ 4518725 h 5143500"/>
              <a:gd name="connsiteX128" fmla="*/ 1932607 w 9144000"/>
              <a:gd name="connsiteY128" fmla="*/ 4433919 h 5143500"/>
              <a:gd name="connsiteX129" fmla="*/ 2042262 w 9144000"/>
              <a:gd name="connsiteY129" fmla="*/ 4433919 h 5143500"/>
              <a:gd name="connsiteX130" fmla="*/ 2042263 w 9144000"/>
              <a:gd name="connsiteY130" fmla="*/ 4433919 h 5143500"/>
              <a:gd name="connsiteX131" fmla="*/ 2055176 w 9144000"/>
              <a:gd name="connsiteY131" fmla="*/ 4433919 h 5143500"/>
              <a:gd name="connsiteX132" fmla="*/ 2055294 w 9144000"/>
              <a:gd name="connsiteY132" fmla="*/ 4433906 h 5143500"/>
              <a:gd name="connsiteX133" fmla="*/ 2078782 w 9144000"/>
              <a:gd name="connsiteY133" fmla="*/ 4413959 h 5143500"/>
              <a:gd name="connsiteX134" fmla="*/ 2079760 w 9144000"/>
              <a:gd name="connsiteY134" fmla="*/ 4410697 h 5143500"/>
              <a:gd name="connsiteX135" fmla="*/ 2080747 w 9144000"/>
              <a:gd name="connsiteY135" fmla="*/ 4399663 h 5143500"/>
              <a:gd name="connsiteX136" fmla="*/ 2081059 w 9144000"/>
              <a:gd name="connsiteY136" fmla="*/ 4399663 h 5143500"/>
              <a:gd name="connsiteX137" fmla="*/ 2081059 w 9144000"/>
              <a:gd name="connsiteY137" fmla="*/ 4396169 h 5143500"/>
              <a:gd name="connsiteX138" fmla="*/ 2087604 w 9144000"/>
              <a:gd name="connsiteY138" fmla="*/ 4323017 h 5143500"/>
              <a:gd name="connsiteX139" fmla="*/ 2087861 w 9144000"/>
              <a:gd name="connsiteY139" fmla="*/ 4323017 h 5143500"/>
              <a:gd name="connsiteX140" fmla="*/ 2089255 w 9144000"/>
              <a:gd name="connsiteY140" fmla="*/ 4307426 h 5143500"/>
              <a:gd name="connsiteX141" fmla="*/ 2089256 w 9144000"/>
              <a:gd name="connsiteY141" fmla="*/ 4307426 h 5143500"/>
              <a:gd name="connsiteX142" fmla="*/ 2090993 w 9144000"/>
              <a:gd name="connsiteY142" fmla="*/ 4288001 h 5143500"/>
              <a:gd name="connsiteX143" fmla="*/ 2091934 w 9144000"/>
              <a:gd name="connsiteY143" fmla="*/ 4277481 h 5143500"/>
              <a:gd name="connsiteX144" fmla="*/ 2091476 w 9144000"/>
              <a:gd name="connsiteY144" fmla="*/ 4272774 h 5143500"/>
              <a:gd name="connsiteX145" fmla="*/ 2066087 w 9144000"/>
              <a:gd name="connsiteY145" fmla="*/ 4246485 h 5143500"/>
              <a:gd name="connsiteX146" fmla="*/ 2063816 w 9144000"/>
              <a:gd name="connsiteY146" fmla="*/ 4246248 h 5143500"/>
              <a:gd name="connsiteX147" fmla="*/ 2055207 w 9144000"/>
              <a:gd name="connsiteY147" fmla="*/ 4246248 h 5143500"/>
              <a:gd name="connsiteX148" fmla="*/ 1948360 w 9144000"/>
              <a:gd name="connsiteY148" fmla="*/ 4246248 h 5143500"/>
              <a:gd name="connsiteX149" fmla="*/ 1948427 w 9144000"/>
              <a:gd name="connsiteY149" fmla="*/ 4245444 h 5143500"/>
              <a:gd name="connsiteX150" fmla="*/ 0 w 9144000"/>
              <a:gd name="connsiteY150" fmla="*/ 0 h 5143500"/>
              <a:gd name="connsiteX151" fmla="*/ 9144000 w 9144000"/>
              <a:gd name="connsiteY151" fmla="*/ 0 h 5143500"/>
              <a:gd name="connsiteX152" fmla="*/ 9144000 w 9144000"/>
              <a:gd name="connsiteY152" fmla="*/ 5143500 h 5143500"/>
              <a:gd name="connsiteX153" fmla="*/ 0 w 9144000"/>
              <a:gd name="connsiteY15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9144000" h="5143500">
                <a:moveTo>
                  <a:pt x="1057364" y="4492454"/>
                </a:moveTo>
                <a:lnTo>
                  <a:pt x="1057344" y="4492644"/>
                </a:lnTo>
                <a:lnTo>
                  <a:pt x="1057363" y="4492454"/>
                </a:lnTo>
                <a:close/>
                <a:moveTo>
                  <a:pt x="1353958" y="4402402"/>
                </a:moveTo>
                <a:lnTo>
                  <a:pt x="1383444" y="4402402"/>
                </a:lnTo>
                <a:lnTo>
                  <a:pt x="1378715" y="4453446"/>
                </a:lnTo>
                <a:lnTo>
                  <a:pt x="1349540" y="4453446"/>
                </a:lnTo>
                <a:close/>
                <a:moveTo>
                  <a:pt x="1944239" y="4309441"/>
                </a:moveTo>
                <a:lnTo>
                  <a:pt x="1973177" y="4309766"/>
                </a:lnTo>
                <a:lnTo>
                  <a:pt x="1966349" y="4378048"/>
                </a:lnTo>
                <a:lnTo>
                  <a:pt x="1937411" y="4378048"/>
                </a:lnTo>
                <a:close/>
                <a:moveTo>
                  <a:pt x="1099203" y="4272573"/>
                </a:moveTo>
                <a:lnTo>
                  <a:pt x="1098971" y="4274874"/>
                </a:lnTo>
                <a:lnTo>
                  <a:pt x="1098971" y="4274874"/>
                </a:lnTo>
                <a:close/>
                <a:moveTo>
                  <a:pt x="961317" y="4246095"/>
                </a:moveTo>
                <a:lnTo>
                  <a:pt x="936860" y="4518725"/>
                </a:lnTo>
                <a:lnTo>
                  <a:pt x="971720" y="4518725"/>
                </a:lnTo>
                <a:lnTo>
                  <a:pt x="1025402" y="4518725"/>
                </a:lnTo>
                <a:lnTo>
                  <a:pt x="1029271" y="4518725"/>
                </a:lnTo>
                <a:lnTo>
                  <a:pt x="1029271" y="4518335"/>
                </a:lnTo>
                <a:lnTo>
                  <a:pt x="1031972" y="4518063"/>
                </a:lnTo>
                <a:cubicBezTo>
                  <a:pt x="1038338" y="4516761"/>
                  <a:pt x="1044028" y="4513602"/>
                  <a:pt x="1048453" y="4509178"/>
                </a:cubicBezTo>
                <a:lnTo>
                  <a:pt x="1054376" y="4500392"/>
                </a:lnTo>
                <a:lnTo>
                  <a:pt x="1055440" y="4498815"/>
                </a:lnTo>
                <a:cubicBezTo>
                  <a:pt x="1056264" y="4496865"/>
                  <a:pt x="1056905" y="4494819"/>
                  <a:pt x="1057339" y="4492697"/>
                </a:cubicBezTo>
                <a:lnTo>
                  <a:pt x="1057344" y="4492644"/>
                </a:lnTo>
                <a:lnTo>
                  <a:pt x="1094490" y="4395663"/>
                </a:lnTo>
                <a:lnTo>
                  <a:pt x="1082125" y="4518725"/>
                </a:lnTo>
                <a:lnTo>
                  <a:pt x="1198456" y="4518725"/>
                </a:lnTo>
                <a:lnTo>
                  <a:pt x="1222914" y="4246095"/>
                </a:lnTo>
                <a:lnTo>
                  <a:pt x="1190741" y="4246095"/>
                </a:lnTo>
                <a:lnTo>
                  <a:pt x="1131184" y="4246095"/>
                </a:lnTo>
                <a:lnTo>
                  <a:pt x="1127141" y="4246095"/>
                </a:lnTo>
                <a:lnTo>
                  <a:pt x="1127141" y="4246502"/>
                </a:lnTo>
                <a:lnTo>
                  <a:pt x="1124614" y="4246757"/>
                </a:lnTo>
                <a:cubicBezTo>
                  <a:pt x="1118248" y="4248060"/>
                  <a:pt x="1112558" y="4251219"/>
                  <a:pt x="1108134" y="4255643"/>
                </a:cubicBezTo>
                <a:lnTo>
                  <a:pt x="1101505" y="4265474"/>
                </a:lnTo>
                <a:lnTo>
                  <a:pt x="1101148" y="4266005"/>
                </a:lnTo>
                <a:cubicBezTo>
                  <a:pt x="1100322" y="4267955"/>
                  <a:pt x="1099682" y="4270002"/>
                  <a:pt x="1099248" y="4272124"/>
                </a:cubicBezTo>
                <a:lnTo>
                  <a:pt x="1099203" y="4272573"/>
                </a:lnTo>
                <a:lnTo>
                  <a:pt x="1062390" y="4386065"/>
                </a:lnTo>
                <a:lnTo>
                  <a:pt x="1077175" y="4246095"/>
                </a:lnTo>
                <a:close/>
                <a:moveTo>
                  <a:pt x="699828" y="4246095"/>
                </a:moveTo>
                <a:cubicBezTo>
                  <a:pt x="686325" y="4246095"/>
                  <a:pt x="674740" y="4254305"/>
                  <a:pt x="669791" y="4266005"/>
                </a:cubicBezTo>
                <a:lnTo>
                  <a:pt x="668360" y="4270614"/>
                </a:lnTo>
                <a:lnTo>
                  <a:pt x="667428" y="4280672"/>
                </a:lnTo>
                <a:cubicBezTo>
                  <a:pt x="667428" y="4280672"/>
                  <a:pt x="667429" y="4280672"/>
                  <a:pt x="667429" y="4280672"/>
                </a:cubicBezTo>
                <a:lnTo>
                  <a:pt x="648408" y="4486019"/>
                </a:lnTo>
                <a:lnTo>
                  <a:pt x="648334" y="4486809"/>
                </a:lnTo>
                <a:lnTo>
                  <a:pt x="648993" y="4493346"/>
                </a:lnTo>
                <a:cubicBezTo>
                  <a:pt x="651599" y="4506079"/>
                  <a:pt x="661627" y="4516108"/>
                  <a:pt x="674360" y="4518713"/>
                </a:cubicBezTo>
                <a:lnTo>
                  <a:pt x="674478" y="4518725"/>
                </a:lnTo>
                <a:lnTo>
                  <a:pt x="687381" y="4518725"/>
                </a:lnTo>
                <a:lnTo>
                  <a:pt x="871827" y="4518725"/>
                </a:lnTo>
                <a:lnTo>
                  <a:pt x="871828" y="4518725"/>
                </a:lnTo>
                <a:lnTo>
                  <a:pt x="884730" y="4518725"/>
                </a:lnTo>
                <a:lnTo>
                  <a:pt x="884849" y="4518713"/>
                </a:lnTo>
                <a:cubicBezTo>
                  <a:pt x="895459" y="4516542"/>
                  <a:pt x="904191" y="4509216"/>
                  <a:pt x="908315" y="4499466"/>
                </a:cubicBezTo>
                <a:lnTo>
                  <a:pt x="909292" y="4496318"/>
                </a:lnTo>
                <a:lnTo>
                  <a:pt x="910279" y="4485672"/>
                </a:lnTo>
                <a:lnTo>
                  <a:pt x="910591" y="4485672"/>
                </a:lnTo>
                <a:lnTo>
                  <a:pt x="910591" y="4482300"/>
                </a:lnTo>
                <a:lnTo>
                  <a:pt x="918561" y="4396256"/>
                </a:lnTo>
                <a:lnTo>
                  <a:pt x="802457" y="4396256"/>
                </a:lnTo>
                <a:lnTo>
                  <a:pt x="797159" y="4453446"/>
                </a:lnTo>
                <a:lnTo>
                  <a:pt x="767116" y="4453446"/>
                </a:lnTo>
                <a:lnTo>
                  <a:pt x="780324" y="4310859"/>
                </a:lnTo>
                <a:lnTo>
                  <a:pt x="810367" y="4310859"/>
                </a:lnTo>
                <a:lnTo>
                  <a:pt x="805499" y="4363416"/>
                </a:lnTo>
                <a:lnTo>
                  <a:pt x="921603" y="4363416"/>
                </a:lnTo>
                <a:lnTo>
                  <a:pt x="928739" y="4286385"/>
                </a:lnTo>
                <a:lnTo>
                  <a:pt x="929679" y="4276232"/>
                </a:lnTo>
                <a:lnTo>
                  <a:pt x="929222" y="4271691"/>
                </a:lnTo>
                <a:cubicBezTo>
                  <a:pt x="926616" y="4258958"/>
                  <a:pt x="916586" y="4248929"/>
                  <a:pt x="903855" y="4246324"/>
                </a:cubicBezTo>
                <a:lnTo>
                  <a:pt x="901585" y="4246095"/>
                </a:lnTo>
                <a:lnTo>
                  <a:pt x="892984" y="4246095"/>
                </a:lnTo>
                <a:close/>
                <a:moveTo>
                  <a:pt x="1803745" y="4246065"/>
                </a:moveTo>
                <a:lnTo>
                  <a:pt x="1688592" y="4246079"/>
                </a:lnTo>
                <a:lnTo>
                  <a:pt x="1677219" y="4370674"/>
                </a:lnTo>
                <a:lnTo>
                  <a:pt x="1648255" y="4370241"/>
                </a:lnTo>
                <a:lnTo>
                  <a:pt x="1659108" y="4246081"/>
                </a:lnTo>
                <a:lnTo>
                  <a:pt x="1542433" y="4246095"/>
                </a:lnTo>
                <a:lnTo>
                  <a:pt x="1529943" y="4387363"/>
                </a:lnTo>
                <a:lnTo>
                  <a:pt x="1529090" y="4397002"/>
                </a:lnTo>
                <a:lnTo>
                  <a:pt x="1529565" y="4401717"/>
                </a:lnTo>
                <a:cubicBezTo>
                  <a:pt x="1531737" y="4412328"/>
                  <a:pt x="1539063" y="4421061"/>
                  <a:pt x="1548813" y="4425184"/>
                </a:cubicBezTo>
                <a:lnTo>
                  <a:pt x="1554262" y="4426876"/>
                </a:lnTo>
                <a:lnTo>
                  <a:pt x="1568647" y="4426905"/>
                </a:lnTo>
                <a:lnTo>
                  <a:pt x="1671692" y="4427113"/>
                </a:lnTo>
                <a:lnTo>
                  <a:pt x="1669564" y="4454312"/>
                </a:lnTo>
                <a:lnTo>
                  <a:pt x="1524038" y="4454132"/>
                </a:lnTo>
                <a:lnTo>
                  <a:pt x="1518327" y="4518725"/>
                </a:lnTo>
                <a:lnTo>
                  <a:pt x="1743799" y="4518725"/>
                </a:lnTo>
                <a:lnTo>
                  <a:pt x="1743800" y="4518725"/>
                </a:lnTo>
                <a:lnTo>
                  <a:pt x="1756702" y="4518725"/>
                </a:lnTo>
                <a:lnTo>
                  <a:pt x="1756820" y="4518713"/>
                </a:lnTo>
                <a:cubicBezTo>
                  <a:pt x="1767431" y="4516542"/>
                  <a:pt x="1776163" y="4509216"/>
                  <a:pt x="1780288" y="4499466"/>
                </a:cubicBezTo>
                <a:lnTo>
                  <a:pt x="1781264" y="4496318"/>
                </a:lnTo>
                <a:lnTo>
                  <a:pt x="1782250" y="4485672"/>
                </a:lnTo>
                <a:lnTo>
                  <a:pt x="1782563" y="4485672"/>
                </a:lnTo>
                <a:lnTo>
                  <a:pt x="1782563" y="4482300"/>
                </a:lnTo>
                <a:close/>
                <a:moveTo>
                  <a:pt x="1513330" y="4246065"/>
                </a:moveTo>
                <a:lnTo>
                  <a:pt x="1252018" y="4246095"/>
                </a:lnTo>
                <a:lnTo>
                  <a:pt x="1227912" y="4518725"/>
                </a:lnTo>
                <a:lnTo>
                  <a:pt x="1453383" y="4518725"/>
                </a:lnTo>
                <a:lnTo>
                  <a:pt x="1453384" y="4518725"/>
                </a:lnTo>
                <a:lnTo>
                  <a:pt x="1466287" y="4518725"/>
                </a:lnTo>
                <a:lnTo>
                  <a:pt x="1466405" y="4518713"/>
                </a:lnTo>
                <a:cubicBezTo>
                  <a:pt x="1477015" y="4516542"/>
                  <a:pt x="1485748" y="4509216"/>
                  <a:pt x="1489872" y="4499466"/>
                </a:cubicBezTo>
                <a:lnTo>
                  <a:pt x="1490849" y="4496318"/>
                </a:lnTo>
                <a:lnTo>
                  <a:pt x="1491835" y="4485672"/>
                </a:lnTo>
                <a:lnTo>
                  <a:pt x="1492147" y="4485672"/>
                </a:lnTo>
                <a:lnTo>
                  <a:pt x="1492147" y="4482300"/>
                </a:lnTo>
                <a:lnTo>
                  <a:pt x="1498686" y="4411715"/>
                </a:lnTo>
                <a:lnTo>
                  <a:pt x="1498942" y="4411715"/>
                </a:lnTo>
                <a:lnTo>
                  <a:pt x="1502072" y="4377928"/>
                </a:lnTo>
                <a:lnTo>
                  <a:pt x="1503013" y="4367776"/>
                </a:lnTo>
                <a:lnTo>
                  <a:pt x="1502555" y="4363234"/>
                </a:lnTo>
                <a:cubicBezTo>
                  <a:pt x="1499949" y="4350501"/>
                  <a:pt x="1489920" y="4340473"/>
                  <a:pt x="1477188" y="4337867"/>
                </a:cubicBezTo>
                <a:lnTo>
                  <a:pt x="1474919" y="4337638"/>
                </a:lnTo>
                <a:lnTo>
                  <a:pt x="1466317" y="4337638"/>
                </a:lnTo>
                <a:lnTo>
                  <a:pt x="1359562" y="4337638"/>
                </a:lnTo>
                <a:lnTo>
                  <a:pt x="1361880" y="4310859"/>
                </a:lnTo>
                <a:lnTo>
                  <a:pt x="1507929" y="4310525"/>
                </a:lnTo>
                <a:close/>
                <a:moveTo>
                  <a:pt x="1833295" y="4245444"/>
                </a:moveTo>
                <a:lnTo>
                  <a:pt x="1816869" y="4433919"/>
                </a:lnTo>
                <a:lnTo>
                  <a:pt x="1809484" y="4518659"/>
                </a:lnTo>
                <a:lnTo>
                  <a:pt x="1925316" y="4518725"/>
                </a:lnTo>
                <a:lnTo>
                  <a:pt x="1932607" y="4433919"/>
                </a:lnTo>
                <a:lnTo>
                  <a:pt x="2042262" y="4433919"/>
                </a:lnTo>
                <a:lnTo>
                  <a:pt x="2042263" y="4433919"/>
                </a:lnTo>
                <a:lnTo>
                  <a:pt x="2055176" y="4433919"/>
                </a:lnTo>
                <a:lnTo>
                  <a:pt x="2055294" y="4433906"/>
                </a:lnTo>
                <a:cubicBezTo>
                  <a:pt x="2065914" y="4431656"/>
                  <a:pt x="2074655" y="4424064"/>
                  <a:pt x="2078782" y="4413959"/>
                </a:cubicBezTo>
                <a:lnTo>
                  <a:pt x="2079760" y="4410697"/>
                </a:lnTo>
                <a:lnTo>
                  <a:pt x="2080747" y="4399663"/>
                </a:lnTo>
                <a:lnTo>
                  <a:pt x="2081059" y="4399663"/>
                </a:lnTo>
                <a:lnTo>
                  <a:pt x="2081059" y="4396169"/>
                </a:lnTo>
                <a:lnTo>
                  <a:pt x="2087604" y="4323017"/>
                </a:lnTo>
                <a:lnTo>
                  <a:pt x="2087861" y="4323017"/>
                </a:lnTo>
                <a:lnTo>
                  <a:pt x="2089255" y="4307426"/>
                </a:lnTo>
                <a:lnTo>
                  <a:pt x="2089256" y="4307426"/>
                </a:lnTo>
                <a:lnTo>
                  <a:pt x="2090993" y="4288001"/>
                </a:lnTo>
                <a:lnTo>
                  <a:pt x="2091934" y="4277481"/>
                </a:lnTo>
                <a:lnTo>
                  <a:pt x="2091476" y="4272774"/>
                </a:lnTo>
                <a:cubicBezTo>
                  <a:pt x="2088868" y="4259578"/>
                  <a:pt x="2078831" y="4249185"/>
                  <a:pt x="2066087" y="4246485"/>
                </a:cubicBezTo>
                <a:lnTo>
                  <a:pt x="2063816" y="4246248"/>
                </a:lnTo>
                <a:lnTo>
                  <a:pt x="2055207" y="4246248"/>
                </a:lnTo>
                <a:lnTo>
                  <a:pt x="1948360" y="4246248"/>
                </a:lnTo>
                <a:lnTo>
                  <a:pt x="1948427" y="4245444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rgbClr val="77E2C3"/>
              </a:gs>
            </a:gsLst>
            <a:lin ang="13500000" scaled="1"/>
            <a:tileRect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ru-RU" sz="1000" dirty="0"/>
            </a:lvl1pPr>
          </a:lstStyle>
          <a:p>
            <a:pPr lvl="0"/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467126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2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Заголовок 10">
            <a:extLst>
              <a:ext uri="{FF2B5EF4-FFF2-40B4-BE49-F238E27FC236}">
                <a16:creationId xmlns:a16="http://schemas.microsoft.com/office/drawing/2014/main" id="{28DBAEBD-A7DB-7520-3FB9-ACAC61AE6B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362774"/>
            <a:ext cx="7807800" cy="2281275"/>
          </a:xfrm>
        </p:spPr>
        <p:txBody>
          <a:bodyPr vert="horz" lIns="0" tIns="0" rIns="0" bIns="0">
            <a:normAutofit/>
          </a:bodyPr>
          <a:lstStyle>
            <a:lvl1pPr mar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4000" b="1" i="0" kern="1200" dirty="0">
                <a:solidFill>
                  <a:schemeClr val="tx1"/>
                </a:solidFill>
                <a:latin typeface="Arial" panose="020B0604020202020204" pitchFamily="34" charset="0"/>
                <a:ea typeface="Roboto SemiBold" pitchFamily="34" charset="-122"/>
                <a:cs typeface="Arial" panose="020B0604020202020204" pitchFamily="34" charset="0"/>
              </a:defRPr>
            </a:lvl1pPr>
          </a:lstStyle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61078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Р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Рисунок 6">
            <a:extLst>
              <a:ext uri="{FF2B5EF4-FFF2-40B4-BE49-F238E27FC236}">
                <a16:creationId xmlns:a16="http://schemas.microsoft.com/office/drawing/2014/main" id="{26FCA5A1-D42F-F268-3EED-A7114868DA8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1173719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9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55628" y="910299"/>
            <a:ext cx="7848000" cy="1093422"/>
          </a:xfrm>
        </p:spPr>
        <p:txBody>
          <a:bodyPr vert="horz" lIns="0" tIns="0" rIns="0" bIns="0"/>
          <a:lstStyle>
            <a:lvl1pPr marL="0" algn="l" defTabSz="778986" rtl="0" eaLnBrk="1" fontAlgn="base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lang="ru-RU" sz="4000" b="1" i="0" kern="1200" dirty="0">
                <a:solidFill>
                  <a:srgbClr val="00313C"/>
                </a:solidFill>
                <a:latin typeface="Arial" panose="020B0604020202020204" pitchFamily="34" charset="0"/>
                <a:ea typeface="Roboto SemiBold" pitchFamily="34" charset="-122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в 2 строки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9FF93E0A-11E1-8BEA-7A05-D41D1276CAA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3387" y="339725"/>
            <a:ext cx="1447803" cy="275436"/>
          </a:xfrm>
          <a:prstGeom prst="rect">
            <a:avLst/>
          </a:prstGeom>
        </p:spPr>
      </p:pic>
      <p:sp>
        <p:nvSpPr>
          <p:cNvPr id="10" name="Текст 7">
            <a:extLst>
              <a:ext uri="{FF2B5EF4-FFF2-40B4-BE49-F238E27FC236}">
                <a16:creationId xmlns:a16="http://schemas.microsoft.com/office/drawing/2014/main" id="{3ABA512B-BCE2-2D3E-69FD-E20741180E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5628" y="2202677"/>
            <a:ext cx="7848000" cy="962553"/>
          </a:xfrm>
        </p:spPr>
        <p:txBody>
          <a:bodyPr lIns="0" tIns="0" rIns="0" bIns="0"/>
          <a:lstStyle>
            <a:lvl1pPr>
              <a:defRPr b="0" i="0"/>
            </a:lvl1pPr>
            <a:lvl2pPr>
              <a:defRPr lang="ru-RU" sz="1400" b="0" i="0" kern="1200" dirty="0">
                <a:solidFill>
                  <a:schemeClr val="tx1"/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2pPr>
          </a:lstStyle>
          <a:p>
            <a:pPr marL="0" lvl="1" indent="0" algn="l" defTabSz="778986" rtl="0" eaLnBrk="1" fontAlgn="base" latinLnBrk="0" hangingPunct="1">
              <a:lnSpc>
                <a:spcPts val="148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ru-RU" dirty="0"/>
              <a:t>Подзаголовок (заполняется по необходимости)</a:t>
            </a:r>
          </a:p>
        </p:txBody>
      </p:sp>
      <p:sp>
        <p:nvSpPr>
          <p:cNvPr id="3" name="Текст 10">
            <a:extLst>
              <a:ext uri="{FF2B5EF4-FFF2-40B4-BE49-F238E27FC236}">
                <a16:creationId xmlns:a16="http://schemas.microsoft.com/office/drawing/2014/main" id="{63FA37B9-E824-EC1B-34B3-41A4B91D91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1241" y="4596076"/>
            <a:ext cx="6253200" cy="360362"/>
          </a:xfrm>
        </p:spPr>
        <p:txBody>
          <a:bodyPr lIns="0" tIns="0" rIns="0" bIns="0"/>
          <a:lstStyle>
            <a:lvl3pPr>
              <a:defRPr lang="ru-RU" sz="1400" b="0" i="0" kern="1200" dirty="0">
                <a:solidFill>
                  <a:schemeClr val="accent1"/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3pPr>
          </a:lstStyle>
          <a:p>
            <a:pPr marL="0" lvl="2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dirty="0" err="1"/>
              <a:t>М</a:t>
            </a:r>
            <a:r>
              <a:rPr lang="ru-RU" dirty="0" err="1"/>
              <a:t>есяц</a:t>
            </a:r>
            <a:r>
              <a:rPr lang="ru-RU" dirty="0"/>
              <a:t>/Год</a:t>
            </a:r>
          </a:p>
        </p:txBody>
      </p:sp>
      <p:sp>
        <p:nvSpPr>
          <p:cNvPr id="5" name="Текст 12">
            <a:extLst>
              <a:ext uri="{FF2B5EF4-FFF2-40B4-BE49-F238E27FC236}">
                <a16:creationId xmlns:a16="http://schemas.microsoft.com/office/drawing/2014/main" id="{64AB8131-006B-3C1F-7BAC-B7D548F1B1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5628" y="3591237"/>
            <a:ext cx="6253200" cy="694323"/>
          </a:xfrm>
          <a:prstGeom prst="rect">
            <a:avLst/>
          </a:prstGeom>
          <a:effectLst/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0" i="0" baseline="0">
                <a:solidFill>
                  <a:schemeClr val="tx2"/>
                </a:solidFill>
                <a:effectLst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ru-RU" sz="1400" b="0" i="0" kern="1200" dirty="0">
                <a:solidFill>
                  <a:schemeClr val="tx1"/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2pPr>
          </a:lstStyle>
          <a:p>
            <a:pPr marL="0" lvl="1" indent="0" algn="l" defTabSz="778986" rtl="0" eaLnBrk="1" fontAlgn="base" latinLnBrk="0" hangingPunct="1">
              <a:lnSpc>
                <a:spcPts val="148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14033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heme" Target="../theme/theme1.xml"/><Relationship Id="rId58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3" Type="http://schemas.openxmlformats.org/officeDocument/2006/relationships/slideLayout" Target="../slideLayouts/slideLayout55.xml"/><Relationship Id="rId7" Type="http://schemas.openxmlformats.org/officeDocument/2006/relationships/vmlDrawing" Target="../drawings/vmlDrawing54.v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theme" Target="../theme/theme2.xml"/><Relationship Id="rId11" Type="http://schemas.openxmlformats.org/officeDocument/2006/relationships/oleObject" Target="../embeddings/oleObject54.bin"/><Relationship Id="rId5" Type="http://schemas.openxmlformats.org/officeDocument/2006/relationships/slideLayout" Target="../slideLayouts/slideLayout57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56.xml"/><Relationship Id="rId9" Type="http://schemas.openxmlformats.org/officeDocument/2006/relationships/tags" Target="../tags/tag5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0.vml"/><Relationship Id="rId3" Type="http://schemas.openxmlformats.org/officeDocument/2006/relationships/slideLayout" Target="../slideLayouts/slideLayout60.xml"/><Relationship Id="rId7" Type="http://schemas.openxmlformats.org/officeDocument/2006/relationships/theme" Target="../theme/theme3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oleObject" Target="../embeddings/oleObject60.bin"/><Relationship Id="rId5" Type="http://schemas.openxmlformats.org/officeDocument/2006/relationships/slideLayout" Target="../slideLayouts/slideLayout62.xml"/><Relationship Id="rId10" Type="http://schemas.openxmlformats.org/officeDocument/2006/relationships/tags" Target="../tags/tag64.xml"/><Relationship Id="rId4" Type="http://schemas.openxmlformats.org/officeDocument/2006/relationships/slideLayout" Target="../slideLayouts/slideLayout61.xml"/><Relationship Id="rId9" Type="http://schemas.openxmlformats.org/officeDocument/2006/relationships/tags" Target="../tags/tag6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66.xml"/><Relationship Id="rId21" Type="http://schemas.openxmlformats.org/officeDocument/2006/relationships/tags" Target="../tags/tag71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slideLayout" Target="../slideLayouts/slideLayout80.xml"/><Relationship Id="rId2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79.xml"/><Relationship Id="rId20" Type="http://schemas.openxmlformats.org/officeDocument/2006/relationships/tags" Target="../tags/tag70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8.xml"/><Relationship Id="rId23" Type="http://schemas.openxmlformats.org/officeDocument/2006/relationships/oleObject" Target="../embeddings/oleObject66.bin"/><Relationship Id="rId10" Type="http://schemas.openxmlformats.org/officeDocument/2006/relationships/slideLayout" Target="../slideLayouts/slideLayout73.xml"/><Relationship Id="rId19" Type="http://schemas.openxmlformats.org/officeDocument/2006/relationships/vmlDrawing" Target="../drawings/vmlDrawing66.v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7.xml"/><Relationship Id="rId22" Type="http://schemas.openxmlformats.org/officeDocument/2006/relationships/image" Target="../media/image2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4.bin"/><Relationship Id="rId3" Type="http://schemas.openxmlformats.org/officeDocument/2006/relationships/theme" Target="../theme/theme5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tags" Target="../tags/tag90.xml"/><Relationship Id="rId5" Type="http://schemas.openxmlformats.org/officeDocument/2006/relationships/tags" Target="../tags/tag89.xml"/><Relationship Id="rId4" Type="http://schemas.openxmlformats.org/officeDocument/2006/relationships/vmlDrawing" Target="../drawings/vmlDrawing84.vml"/><Relationship Id="rId9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85.xml"/><Relationship Id="rId7" Type="http://schemas.openxmlformats.org/officeDocument/2006/relationships/tags" Target="../tags/tag94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tags" Target="../tags/tag93.xml"/><Relationship Id="rId5" Type="http://schemas.openxmlformats.org/officeDocument/2006/relationships/vmlDrawing" Target="../drawings/vmlDrawing87.vml"/><Relationship Id="rId10" Type="http://schemas.openxmlformats.org/officeDocument/2006/relationships/image" Target="../media/image1.emf"/><Relationship Id="rId4" Type="http://schemas.openxmlformats.org/officeDocument/2006/relationships/theme" Target="../theme/theme6.xml"/><Relationship Id="rId9" Type="http://schemas.openxmlformats.org/officeDocument/2006/relationships/oleObject" Target="../embeddings/oleObject87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3" Type="http://schemas.openxmlformats.org/officeDocument/2006/relationships/slideLayout" Target="../slideLayouts/slideLayout88.xml"/><Relationship Id="rId7" Type="http://schemas.openxmlformats.org/officeDocument/2006/relationships/vmlDrawing" Target="../drawings/vmlDrawing89.v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theme" Target="../theme/theme7.xml"/><Relationship Id="rId11" Type="http://schemas.openxmlformats.org/officeDocument/2006/relationships/oleObject" Target="../embeddings/oleObject89.bin"/><Relationship Id="rId5" Type="http://schemas.openxmlformats.org/officeDocument/2006/relationships/slideLayout" Target="../slideLayouts/slideLayout90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89.xml"/><Relationship Id="rId9" Type="http://schemas.openxmlformats.org/officeDocument/2006/relationships/tags" Target="../tags/tag9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vmlDrawing" Target="../drawings/vmlDrawing95.vml"/><Relationship Id="rId7" Type="http://schemas.openxmlformats.org/officeDocument/2006/relationships/oleObject" Target="../embeddings/oleObject95.bin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91.xml"/><Relationship Id="rId6" Type="http://schemas.openxmlformats.org/officeDocument/2006/relationships/image" Target="../media/image2.jpeg"/><Relationship Id="rId5" Type="http://schemas.openxmlformats.org/officeDocument/2006/relationships/tags" Target="../tags/tag104.xml"/><Relationship Id="rId4" Type="http://schemas.openxmlformats.org/officeDocument/2006/relationships/tags" Target="../tags/tag10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106.xml"/><Relationship Id="rId3" Type="http://schemas.openxmlformats.org/officeDocument/2006/relationships/slideLayout" Target="../slideLayouts/slideLayout94.xml"/><Relationship Id="rId7" Type="http://schemas.openxmlformats.org/officeDocument/2006/relationships/vmlDrawing" Target="../drawings/vmlDrawing97.v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theme" Target="../theme/theme9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96.xml"/><Relationship Id="rId10" Type="http://schemas.openxmlformats.org/officeDocument/2006/relationships/oleObject" Target="../embeddings/oleObject97.bin"/><Relationship Id="rId4" Type="http://schemas.openxmlformats.org/officeDocument/2006/relationships/slideLayout" Target="../slideLayouts/slideLayout95.xml"/><Relationship Id="rId9" Type="http://schemas.openxmlformats.org/officeDocument/2006/relationships/tags" Target="../tags/tag10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BFBAC50C-BF95-4E9C-30B4-EB39D776E596}"/>
              </a:ext>
            </a:extLst>
          </p:cNvPr>
          <p:cNvPicPr>
            <a:picLocks noChangeAspect="1"/>
          </p:cNvPicPr>
          <p:nvPr userDrawn="1"/>
        </p:nvPicPr>
        <p:blipFill>
          <a:blip r:embed="rId57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20721311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" name="Слайд think-cell" r:id="rId58" imgW="270" imgH="270" progId="TCLayout.ActiveDocument.1">
                  <p:embed/>
                </p:oleObj>
              </mc:Choice>
              <mc:Fallback>
                <p:oleObj name="Слайд think-cell" r:id="rId5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56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7701" y="339724"/>
            <a:ext cx="7848600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Образец заголовка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66828" y="4757635"/>
            <a:ext cx="329472" cy="19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 b="0">
                <a:solidFill>
                  <a:srgbClr val="003D4C">
                    <a:alpha val="55000"/>
                  </a:srgb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647700" y="4757635"/>
            <a:ext cx="5311574" cy="198551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lang="ru-RU" sz="1000" b="0" kern="1200" smtClean="0">
                <a:solidFill>
                  <a:srgbClr val="003D4C">
                    <a:alpha val="55000"/>
                  </a:srgb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6" name="Прямоугольник 35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49</a:t>
              </a:r>
              <a:br>
                <a:rPr lang="ru-RU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3" name="Прямоугольник 52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4" name="Прямоугольник 53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55" name="Прямоугольник 54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" name="TextBox 4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31" name="Прямоугольник 30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Текст 6"/>
          <p:cNvSpPr>
            <a:spLocks noGrp="1"/>
          </p:cNvSpPr>
          <p:nvPr>
            <p:ph type="body" idx="1"/>
          </p:nvPr>
        </p:nvSpPr>
        <p:spPr>
          <a:xfrm>
            <a:off x="647700" y="1536710"/>
            <a:ext cx="7848600" cy="29797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06920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0" r:id="rId1"/>
    <p:sldLayoutId id="2147484841" r:id="rId2"/>
    <p:sldLayoutId id="2147484887" r:id="rId3"/>
    <p:sldLayoutId id="2147485024" r:id="rId4"/>
    <p:sldLayoutId id="2147485025" r:id="rId5"/>
    <p:sldLayoutId id="2147485026" r:id="rId6"/>
    <p:sldLayoutId id="2147484844" r:id="rId7"/>
    <p:sldLayoutId id="2147484842" r:id="rId8"/>
    <p:sldLayoutId id="2147485023" r:id="rId9"/>
    <p:sldLayoutId id="2147485146" r:id="rId10"/>
    <p:sldLayoutId id="2147484843" r:id="rId11"/>
    <p:sldLayoutId id="2147484847" r:id="rId12"/>
    <p:sldLayoutId id="2147484848" r:id="rId13"/>
    <p:sldLayoutId id="2147485108" r:id="rId14"/>
    <p:sldLayoutId id="2147485109" r:id="rId15"/>
    <p:sldLayoutId id="2147485106" r:id="rId16"/>
    <p:sldLayoutId id="2147485107" r:id="rId17"/>
    <p:sldLayoutId id="2147485113" r:id="rId18"/>
    <p:sldLayoutId id="2147485114" r:id="rId19"/>
    <p:sldLayoutId id="2147485122" r:id="rId20"/>
    <p:sldLayoutId id="2147485110" r:id="rId21"/>
    <p:sldLayoutId id="2147485123" r:id="rId22"/>
    <p:sldLayoutId id="2147485116" r:id="rId23"/>
    <p:sldLayoutId id="2147485115" r:id="rId24"/>
    <p:sldLayoutId id="2147485118" r:id="rId25"/>
    <p:sldLayoutId id="2147485117" r:id="rId26"/>
    <p:sldLayoutId id="2147485121" r:id="rId27"/>
    <p:sldLayoutId id="2147485120" r:id="rId28"/>
    <p:sldLayoutId id="2147485119" r:id="rId29"/>
    <p:sldLayoutId id="2147485167" r:id="rId30"/>
    <p:sldLayoutId id="2147485105" r:id="rId31"/>
    <p:sldLayoutId id="2147485168" r:id="rId32"/>
    <p:sldLayoutId id="2147485125" r:id="rId33"/>
    <p:sldLayoutId id="2147485126" r:id="rId34"/>
    <p:sldLayoutId id="2147485103" r:id="rId35"/>
    <p:sldLayoutId id="2147485101" r:id="rId36"/>
    <p:sldLayoutId id="2147485102" r:id="rId37"/>
    <p:sldLayoutId id="2147485100" r:id="rId38"/>
    <p:sldLayoutId id="2147484961" r:id="rId39"/>
    <p:sldLayoutId id="2147484962" r:id="rId40"/>
    <p:sldLayoutId id="2147485128" r:id="rId41"/>
    <p:sldLayoutId id="2147485127" r:id="rId42"/>
    <p:sldLayoutId id="2147485129" r:id="rId43"/>
    <p:sldLayoutId id="2147485130" r:id="rId44"/>
    <p:sldLayoutId id="2147484862" r:id="rId45"/>
    <p:sldLayoutId id="2147485095" r:id="rId46"/>
    <p:sldLayoutId id="2147485094" r:id="rId47"/>
    <p:sldLayoutId id="2147485097" r:id="rId48"/>
    <p:sldLayoutId id="2147485096" r:id="rId49"/>
    <p:sldLayoutId id="2147485098" r:id="rId50"/>
    <p:sldLayoutId id="2147485099" r:id="rId51"/>
    <p:sldLayoutId id="2147484863" r:id="rId52"/>
  </p:sldLayoutIdLst>
  <p:timing>
    <p:tnLst>
      <p:par>
        <p:cTn id="1" dur="indefinite" restart="never" nodeType="tmRoot"/>
      </p:par>
    </p:tnLst>
  </p:timing>
  <p:hf hdr="0" dt="0"/>
  <p:txStyles>
    <p:titleStyle>
      <a:lvl1pPr marL="0" algn="l" defTabSz="778986" rtl="0" eaLnBrk="1" fontAlgn="base" latinLnBrk="0" hangingPunct="1">
        <a:lnSpc>
          <a:spcPct val="85000"/>
        </a:lnSpc>
        <a:spcBef>
          <a:spcPct val="0"/>
        </a:spcBef>
        <a:spcAft>
          <a:spcPct val="0"/>
        </a:spcAft>
        <a:defRPr lang="ru-RU" sz="2400" b="1" kern="1200" dirty="0">
          <a:solidFill>
            <a:schemeClr val="tx1"/>
          </a:solidFill>
          <a:effectLst/>
          <a:latin typeface="Arial" panose="020B0604020202020204" pitchFamily="34" charset="0"/>
          <a:ea typeface="Arial Bold" pitchFamily="34" charset="-122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defTabSz="778986" rtl="0" eaLnBrk="1" fontAlgn="base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Wingdings" charset="2"/>
        <a:buNone/>
        <a:defRPr lang="ru-RU" sz="1000" b="0" i="0" kern="1200" dirty="0" smtClean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1pPr>
      <a:lvl2pPr marL="0" indent="0" algn="l" defTabSz="778986" rtl="0" eaLnBrk="1" fontAlgn="base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1400" b="0" i="0" kern="1200" dirty="0" smtClean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2pPr>
      <a:lvl3pPr marL="0" indent="0" algn="l" defTabSz="778986" rtl="0" eaLnBrk="1" fontAlgn="base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1200" b="0" i="0" kern="1200" dirty="0" smtClean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3pPr>
      <a:lvl4pPr marL="0" indent="0" algn="l" defTabSz="778986" rtl="0" eaLnBrk="1" fontAlgn="base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800" b="0" i="0" kern="1200" dirty="0" smtClean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4pPr>
      <a:lvl5pPr marL="0" indent="0" algn="l" defTabSz="778986" rtl="0" eaLnBrk="1" fontAlgn="base" latinLnBrk="0" hangingPunct="1">
        <a:lnSpc>
          <a:spcPts val="225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1875" kern="1200" dirty="0">
          <a:solidFill>
            <a:srgbClr val="003D4C">
              <a:alpha val="100000"/>
            </a:srgbClr>
          </a:solidFill>
          <a:latin typeface="Roboto Regular" pitchFamily="34" charset="0"/>
          <a:ea typeface="Roboto Regular" pitchFamily="34" charset="-122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408" userDrawn="1">
          <p15:clr>
            <a:srgbClr val="F26B43"/>
          </p15:clr>
        </p15:guide>
        <p15:guide id="3" orient="horz" pos="2845" userDrawn="1">
          <p15:clr>
            <a:srgbClr val="F26B43"/>
          </p15:clr>
        </p15:guide>
        <p15:guide id="4" pos="5352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3923" userDrawn="1">
          <p15:clr>
            <a:srgbClr val="F26B43"/>
          </p15:clr>
        </p15:guide>
        <p15:guide id="8" pos="1837" userDrawn="1">
          <p15:clr>
            <a:srgbClr val="F26B43"/>
          </p15:clr>
        </p15:guide>
        <p15:guide id="9" pos="4127" userDrawn="1">
          <p15:clr>
            <a:srgbClr val="F26B43"/>
          </p15:clr>
        </p15:guide>
        <p15:guide id="10" pos="612" userDrawn="1">
          <p15:clr>
            <a:srgbClr val="F26B43"/>
          </p15:clr>
        </p15:guide>
        <p15:guide id="11" pos="2880" userDrawn="1">
          <p15:clr>
            <a:srgbClr val="F26B43"/>
          </p15:clr>
        </p15:guide>
        <p15:guide id="12" orient="horz" pos="146" userDrawn="1">
          <p15:clr>
            <a:srgbClr val="F26B43"/>
          </p15:clr>
        </p15:guide>
        <p15:guide id="14" orient="horz" pos="1302" userDrawn="1">
          <p15:clr>
            <a:srgbClr val="F26B43"/>
          </p15:clr>
        </p15:guide>
        <p15:guide id="15" pos="816" userDrawn="1">
          <p15:clr>
            <a:srgbClr val="F26B43"/>
          </p15:clr>
        </p15:guide>
        <p15:guide id="16" pos="1020" userDrawn="1">
          <p15:clr>
            <a:srgbClr val="F26B43"/>
          </p15:clr>
        </p15:guide>
        <p15:guide id="17" pos="1224" userDrawn="1">
          <p15:clr>
            <a:srgbClr val="F26B43"/>
          </p15:clr>
        </p15:guide>
        <p15:guide id="18" pos="1429" userDrawn="1">
          <p15:clr>
            <a:srgbClr val="F26B43"/>
          </p15:clr>
        </p15:guide>
        <p15:guide id="19" pos="1633" userDrawn="1">
          <p15:clr>
            <a:srgbClr val="F26B43"/>
          </p15:clr>
        </p15:guide>
        <p15:guide id="20" pos="2041" userDrawn="1">
          <p15:clr>
            <a:srgbClr val="F26B43"/>
          </p15:clr>
        </p15:guide>
        <p15:guide id="21" pos="2245" userDrawn="1">
          <p15:clr>
            <a:srgbClr val="F26B43"/>
          </p15:clr>
        </p15:guide>
        <p15:guide id="22" pos="2449" userDrawn="1">
          <p15:clr>
            <a:srgbClr val="F26B43"/>
          </p15:clr>
        </p15:guide>
        <p15:guide id="23" pos="2676" userDrawn="1">
          <p15:clr>
            <a:srgbClr val="F26B43"/>
          </p15:clr>
        </p15:guide>
        <p15:guide id="24" pos="3084" userDrawn="1">
          <p15:clr>
            <a:srgbClr val="F26B43"/>
          </p15:clr>
        </p15:guide>
        <p15:guide id="25" pos="3288" userDrawn="1">
          <p15:clr>
            <a:srgbClr val="F26B43"/>
          </p15:clr>
        </p15:guide>
        <p15:guide id="26" pos="3492" userDrawn="1">
          <p15:clr>
            <a:srgbClr val="F26B43"/>
          </p15:clr>
        </p15:guide>
        <p15:guide id="27" pos="3696" userDrawn="1">
          <p15:clr>
            <a:srgbClr val="F26B43"/>
          </p15:clr>
        </p15:guide>
        <p15:guide id="28" pos="4332" userDrawn="1">
          <p15:clr>
            <a:srgbClr val="F26B43"/>
          </p15:clr>
        </p15:guide>
        <p15:guide id="29" pos="4536" userDrawn="1">
          <p15:clr>
            <a:srgbClr val="F26B43"/>
          </p15:clr>
        </p15:guide>
        <p15:guide id="30" pos="4740" userDrawn="1">
          <p15:clr>
            <a:srgbClr val="F26B43"/>
          </p15:clr>
        </p15:guide>
        <p15:guide id="31" pos="4944" userDrawn="1">
          <p15:clr>
            <a:srgbClr val="F26B43"/>
          </p15:clr>
        </p15:guide>
        <p15:guide id="32" pos="5148" userDrawn="1">
          <p15:clr>
            <a:srgbClr val="F26B43"/>
          </p15:clr>
        </p15:guide>
        <p15:guide id="33" pos="204" userDrawn="1">
          <p15:clr>
            <a:srgbClr val="F26B43"/>
          </p15:clr>
        </p15:guide>
        <p15:guide id="34" pos="5556" userDrawn="1">
          <p15:clr>
            <a:srgbClr val="F26B43"/>
          </p15:clr>
        </p15:guide>
        <p15:guide id="35" orient="horz" pos="1620" userDrawn="1">
          <p15:clr>
            <a:srgbClr val="F26B43"/>
          </p15:clr>
        </p15:guide>
        <p15:guide id="36" orient="horz" pos="31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BFBAC50C-BF95-4E9C-30B4-EB39D776E59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0721311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50" name="Слайд think-cell" r:id="rId11" imgW="270" imgH="270" progId="TCLayout.ActiveDocument.1">
                  <p:embed/>
                </p:oleObj>
              </mc:Choice>
              <mc:Fallback>
                <p:oleObj name="Слайд think-cell" r:id="rId11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7701" y="339724"/>
            <a:ext cx="7848600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Образец заголовка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66828" y="4757635"/>
            <a:ext cx="329472" cy="19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 b="0">
                <a:solidFill>
                  <a:srgbClr val="003D4C">
                    <a:alpha val="55000"/>
                  </a:srgb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647700" y="4757635"/>
            <a:ext cx="5311574" cy="198551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lang="ru-RU" sz="1000" b="0" kern="1200" smtClean="0">
                <a:solidFill>
                  <a:srgbClr val="003D4C">
                    <a:alpha val="55000"/>
                  </a:srgb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6" name="Прямоугольник 35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49</a:t>
              </a:r>
              <a:br>
                <a:rPr lang="ru-RU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3" name="Прямоугольник 52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4" name="Прямоугольник 53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55" name="Прямоугольник 54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" name="TextBox 4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31" name="Прямоугольник 30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Текст 6"/>
          <p:cNvSpPr>
            <a:spLocks noGrp="1"/>
          </p:cNvSpPr>
          <p:nvPr>
            <p:ph type="body" idx="1"/>
          </p:nvPr>
        </p:nvSpPr>
        <p:spPr>
          <a:xfrm>
            <a:off x="647700" y="1536710"/>
            <a:ext cx="7848600" cy="29797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94923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89" r:id="rId1"/>
    <p:sldLayoutId id="2147485091" r:id="rId2"/>
    <p:sldLayoutId id="2147485090" r:id="rId3"/>
    <p:sldLayoutId id="2147485092" r:id="rId4"/>
    <p:sldLayoutId id="2147485093" r:id="rId5"/>
  </p:sldLayoutIdLst>
  <p:timing>
    <p:tnLst>
      <p:par>
        <p:cTn id="1" dur="indefinite" restart="never" nodeType="tmRoot"/>
      </p:par>
    </p:tnLst>
  </p:timing>
  <p:hf hdr="0" dt="0"/>
  <p:txStyles>
    <p:titleStyle>
      <a:lvl1pPr marL="0" algn="l" defTabSz="778986" rtl="0" eaLnBrk="1" fontAlgn="base" latinLnBrk="0" hangingPunct="1">
        <a:lnSpc>
          <a:spcPts val="2500"/>
        </a:lnSpc>
        <a:spcBef>
          <a:spcPct val="0"/>
        </a:spcBef>
        <a:spcAft>
          <a:spcPct val="0"/>
        </a:spcAft>
        <a:defRPr lang="ru-RU" sz="2400" b="1" kern="1200" dirty="0">
          <a:solidFill>
            <a:schemeClr val="tx1"/>
          </a:solidFill>
          <a:effectLst/>
          <a:latin typeface="Arial" panose="020B0604020202020204" pitchFamily="34" charset="0"/>
          <a:ea typeface="Arial Bold" pitchFamily="34" charset="-122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defTabSz="778986" rtl="0" eaLnBrk="1" fontAlgn="base" latinLnBrk="0" hangingPunct="1">
        <a:lnSpc>
          <a:spcPts val="2250"/>
        </a:lnSpc>
        <a:spcBef>
          <a:spcPts val="0"/>
        </a:spcBef>
        <a:spcAft>
          <a:spcPts val="0"/>
        </a:spcAft>
        <a:buClr>
          <a:schemeClr val="tx2"/>
        </a:buClr>
        <a:buFont typeface="Wingdings" charset="2"/>
        <a:buNone/>
        <a:defRPr lang="ru-RU" sz="1000" b="0" i="0" kern="1200" dirty="0" smtClean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1pPr>
      <a:lvl2pPr marL="0" indent="0" algn="l" defTabSz="778986" rtl="0" eaLnBrk="1" fontAlgn="base" latinLnBrk="0" hangingPunct="1">
        <a:lnSpc>
          <a:spcPts val="1485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1400" b="0" i="0" kern="1200" dirty="0" smtClean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2pPr>
      <a:lvl3pPr marL="0" indent="0" algn="l" defTabSz="778986" rtl="0" eaLnBrk="1" fontAlgn="base" latinLnBrk="0" hangingPunct="1">
        <a:lnSpc>
          <a:spcPts val="225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1200" b="0" i="0" kern="1200" dirty="0" smtClean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3pPr>
      <a:lvl4pPr marL="0" indent="0" algn="l" defTabSz="778986" rtl="0" eaLnBrk="1" fontAlgn="base" latinLnBrk="0" hangingPunct="1">
        <a:lnSpc>
          <a:spcPts val="1125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800" b="0" i="0" kern="1200" dirty="0" smtClean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4pPr>
      <a:lvl5pPr marL="0" indent="0" algn="l" defTabSz="778986" rtl="0" eaLnBrk="1" fontAlgn="base" latinLnBrk="0" hangingPunct="1">
        <a:lnSpc>
          <a:spcPts val="225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1875" kern="1200" dirty="0">
          <a:solidFill>
            <a:srgbClr val="003D4C">
              <a:alpha val="100000"/>
            </a:srgbClr>
          </a:solidFill>
          <a:latin typeface="Roboto Regular" pitchFamily="34" charset="0"/>
          <a:ea typeface="Roboto Regular" pitchFamily="34" charset="-122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408" userDrawn="1">
          <p15:clr>
            <a:srgbClr val="F26B43"/>
          </p15:clr>
        </p15:guide>
        <p15:guide id="3" orient="horz" pos="2845" userDrawn="1">
          <p15:clr>
            <a:srgbClr val="F26B43"/>
          </p15:clr>
        </p15:guide>
        <p15:guide id="4" pos="5352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3923" userDrawn="1">
          <p15:clr>
            <a:srgbClr val="F26B43"/>
          </p15:clr>
        </p15:guide>
        <p15:guide id="8" pos="1837" userDrawn="1">
          <p15:clr>
            <a:srgbClr val="F26B43"/>
          </p15:clr>
        </p15:guide>
        <p15:guide id="9" pos="4127" userDrawn="1">
          <p15:clr>
            <a:srgbClr val="F26B43"/>
          </p15:clr>
        </p15:guide>
        <p15:guide id="10" pos="612" userDrawn="1">
          <p15:clr>
            <a:srgbClr val="F26B43"/>
          </p15:clr>
        </p15:guide>
        <p15:guide id="11" pos="2880" userDrawn="1">
          <p15:clr>
            <a:srgbClr val="F26B43"/>
          </p15:clr>
        </p15:guide>
        <p15:guide id="12" orient="horz" pos="146" userDrawn="1">
          <p15:clr>
            <a:srgbClr val="F26B43"/>
          </p15:clr>
        </p15:guide>
        <p15:guide id="14" orient="horz" pos="1302" userDrawn="1">
          <p15:clr>
            <a:srgbClr val="F26B43"/>
          </p15:clr>
        </p15:guide>
        <p15:guide id="15" pos="816" userDrawn="1">
          <p15:clr>
            <a:srgbClr val="F26B43"/>
          </p15:clr>
        </p15:guide>
        <p15:guide id="16" pos="1020" userDrawn="1">
          <p15:clr>
            <a:srgbClr val="F26B43"/>
          </p15:clr>
        </p15:guide>
        <p15:guide id="17" pos="1224" userDrawn="1">
          <p15:clr>
            <a:srgbClr val="F26B43"/>
          </p15:clr>
        </p15:guide>
        <p15:guide id="18" pos="1429" userDrawn="1">
          <p15:clr>
            <a:srgbClr val="F26B43"/>
          </p15:clr>
        </p15:guide>
        <p15:guide id="19" pos="1633" userDrawn="1">
          <p15:clr>
            <a:srgbClr val="F26B43"/>
          </p15:clr>
        </p15:guide>
        <p15:guide id="20" pos="2041" userDrawn="1">
          <p15:clr>
            <a:srgbClr val="F26B43"/>
          </p15:clr>
        </p15:guide>
        <p15:guide id="21" pos="2245" userDrawn="1">
          <p15:clr>
            <a:srgbClr val="F26B43"/>
          </p15:clr>
        </p15:guide>
        <p15:guide id="22" pos="2449" userDrawn="1">
          <p15:clr>
            <a:srgbClr val="F26B43"/>
          </p15:clr>
        </p15:guide>
        <p15:guide id="23" pos="2676" userDrawn="1">
          <p15:clr>
            <a:srgbClr val="F26B43"/>
          </p15:clr>
        </p15:guide>
        <p15:guide id="24" pos="3084" userDrawn="1">
          <p15:clr>
            <a:srgbClr val="F26B43"/>
          </p15:clr>
        </p15:guide>
        <p15:guide id="25" pos="3288" userDrawn="1">
          <p15:clr>
            <a:srgbClr val="F26B43"/>
          </p15:clr>
        </p15:guide>
        <p15:guide id="26" pos="3492" userDrawn="1">
          <p15:clr>
            <a:srgbClr val="F26B43"/>
          </p15:clr>
        </p15:guide>
        <p15:guide id="27" pos="3696" userDrawn="1">
          <p15:clr>
            <a:srgbClr val="F26B43"/>
          </p15:clr>
        </p15:guide>
        <p15:guide id="28" pos="4332" userDrawn="1">
          <p15:clr>
            <a:srgbClr val="F26B43"/>
          </p15:clr>
        </p15:guide>
        <p15:guide id="29" pos="4536" userDrawn="1">
          <p15:clr>
            <a:srgbClr val="F26B43"/>
          </p15:clr>
        </p15:guide>
        <p15:guide id="30" pos="4740" userDrawn="1">
          <p15:clr>
            <a:srgbClr val="F26B43"/>
          </p15:clr>
        </p15:guide>
        <p15:guide id="31" pos="4944" userDrawn="1">
          <p15:clr>
            <a:srgbClr val="F26B43"/>
          </p15:clr>
        </p15:guide>
        <p15:guide id="32" pos="5148" userDrawn="1">
          <p15:clr>
            <a:srgbClr val="F26B43"/>
          </p15:clr>
        </p15:guide>
        <p15:guide id="33" pos="204" userDrawn="1">
          <p15:clr>
            <a:srgbClr val="F26B43"/>
          </p15:clr>
        </p15:guide>
        <p15:guide id="34" pos="5556" userDrawn="1">
          <p15:clr>
            <a:srgbClr val="F26B43"/>
          </p15:clr>
        </p15:guide>
        <p15:guide id="35" orient="horz" pos="1620" userDrawn="1">
          <p15:clr>
            <a:srgbClr val="F26B43"/>
          </p15:clr>
        </p15:guide>
        <p15:guide id="36" orient="horz" pos="311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0721311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5" name="Слайд think-cell" r:id="rId11" imgW="270" imgH="270" progId="TCLayout.ActiveDocument.1">
                  <p:embed/>
                </p:oleObj>
              </mc:Choice>
              <mc:Fallback>
                <p:oleObj name="Слайд think-cell" r:id="rId11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10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7701" y="339724"/>
            <a:ext cx="7848600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Образец заголовка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(заголовок не более 2 строк)</a:t>
            </a:r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6" name="Прямоугольник 35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49</a:t>
              </a:r>
              <a:br>
                <a:rPr lang="ru-RU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3" name="Прямоугольник 52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4" name="Прямоугольник 53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55" name="Прямоугольник 54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" name="TextBox 4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31" name="Прямоугольник 30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Текст 6"/>
          <p:cNvSpPr>
            <a:spLocks noGrp="1"/>
          </p:cNvSpPr>
          <p:nvPr>
            <p:ph type="body" idx="1"/>
          </p:nvPr>
        </p:nvSpPr>
        <p:spPr>
          <a:xfrm>
            <a:off x="647700" y="1536710"/>
            <a:ext cx="7848600" cy="29797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80465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57" r:id="rId1"/>
    <p:sldLayoutId id="2147485158" r:id="rId2"/>
    <p:sldLayoutId id="2147485169" r:id="rId3"/>
    <p:sldLayoutId id="2147485161" r:id="rId4"/>
    <p:sldLayoutId id="2147484890" r:id="rId5"/>
    <p:sldLayoutId id="2147485172" r:id="rId6"/>
  </p:sldLayoutIdLst>
  <p:timing>
    <p:tnLst>
      <p:par>
        <p:cTn id="1" dur="indefinite" restart="never" nodeType="tmRoot"/>
      </p:par>
    </p:tnLst>
  </p:timing>
  <p:hf hdr="0" dt="0"/>
  <p:txStyles>
    <p:titleStyle>
      <a:lvl1pPr marL="0" algn="l" defTabSz="778986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defRPr lang="ru-RU" sz="2400" b="1" kern="1200" dirty="0">
          <a:solidFill>
            <a:schemeClr val="tx1"/>
          </a:solidFill>
          <a:effectLst/>
          <a:latin typeface="Arial" panose="020B0604020202020204" pitchFamily="34" charset="0"/>
          <a:ea typeface="Arial Bold" pitchFamily="34" charset="-122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defTabSz="778986" rtl="0" eaLnBrk="1" fontAlgn="base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Wingdings" charset="2"/>
        <a:buNone/>
        <a:defRPr lang="ru-RU" sz="1400" b="0" i="0" kern="1200" dirty="0" smtClean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1pPr>
      <a:lvl2pPr marL="0" indent="0" algn="l" defTabSz="778986" rtl="0" eaLnBrk="1" fontAlgn="base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1200" b="0" i="0" kern="1200" dirty="0" smtClean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2pPr>
      <a:lvl3pPr marL="0" indent="0" algn="l" defTabSz="778986" rtl="0" eaLnBrk="1" fontAlgn="base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1000" b="0" i="0" kern="1200" dirty="0" smtClean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3pPr>
      <a:lvl4pPr marL="0" indent="0" algn="l" defTabSz="778986" rtl="0" eaLnBrk="1" fontAlgn="base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800" b="0" i="0" kern="1200" dirty="0" smtClean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4pPr>
      <a:lvl5pPr marL="0" indent="0" algn="l" defTabSz="778986" rtl="0" eaLnBrk="1" fontAlgn="base" latinLnBrk="0" hangingPunct="1">
        <a:lnSpc>
          <a:spcPts val="225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1875" kern="1200" dirty="0">
          <a:solidFill>
            <a:srgbClr val="003D4C">
              <a:alpha val="100000"/>
            </a:srgbClr>
          </a:solidFill>
          <a:latin typeface="Roboto Regular" pitchFamily="34" charset="0"/>
          <a:ea typeface="Roboto Regular" pitchFamily="34" charset="-122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408" userDrawn="1">
          <p15:clr>
            <a:srgbClr val="F26B43"/>
          </p15:clr>
        </p15:guide>
        <p15:guide id="3" orient="horz" pos="2845" userDrawn="1">
          <p15:clr>
            <a:srgbClr val="F26B43"/>
          </p15:clr>
        </p15:guide>
        <p15:guide id="4" pos="5352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3923" userDrawn="1">
          <p15:clr>
            <a:srgbClr val="F26B43"/>
          </p15:clr>
        </p15:guide>
        <p15:guide id="8" pos="1837" userDrawn="1">
          <p15:clr>
            <a:srgbClr val="F26B43"/>
          </p15:clr>
        </p15:guide>
        <p15:guide id="9" pos="4127" userDrawn="1">
          <p15:clr>
            <a:srgbClr val="F26B43"/>
          </p15:clr>
        </p15:guide>
        <p15:guide id="10" pos="612" userDrawn="1">
          <p15:clr>
            <a:srgbClr val="F26B43"/>
          </p15:clr>
        </p15:guide>
        <p15:guide id="11" pos="2880" userDrawn="1">
          <p15:clr>
            <a:srgbClr val="F26B43"/>
          </p15:clr>
        </p15:guide>
        <p15:guide id="12" orient="horz" pos="146" userDrawn="1">
          <p15:clr>
            <a:srgbClr val="F26B43"/>
          </p15:clr>
        </p15:guide>
        <p15:guide id="14" orient="horz" pos="1302" userDrawn="1">
          <p15:clr>
            <a:srgbClr val="F26B43"/>
          </p15:clr>
        </p15:guide>
        <p15:guide id="15" pos="816" userDrawn="1">
          <p15:clr>
            <a:srgbClr val="F26B43"/>
          </p15:clr>
        </p15:guide>
        <p15:guide id="16" pos="1020" userDrawn="1">
          <p15:clr>
            <a:srgbClr val="F26B43"/>
          </p15:clr>
        </p15:guide>
        <p15:guide id="17" pos="1224" userDrawn="1">
          <p15:clr>
            <a:srgbClr val="F26B43"/>
          </p15:clr>
        </p15:guide>
        <p15:guide id="18" pos="1429" userDrawn="1">
          <p15:clr>
            <a:srgbClr val="F26B43"/>
          </p15:clr>
        </p15:guide>
        <p15:guide id="19" pos="1633" userDrawn="1">
          <p15:clr>
            <a:srgbClr val="F26B43"/>
          </p15:clr>
        </p15:guide>
        <p15:guide id="20" pos="2041" userDrawn="1">
          <p15:clr>
            <a:srgbClr val="F26B43"/>
          </p15:clr>
        </p15:guide>
        <p15:guide id="21" pos="2245" userDrawn="1">
          <p15:clr>
            <a:srgbClr val="F26B43"/>
          </p15:clr>
        </p15:guide>
        <p15:guide id="22" pos="2449" userDrawn="1">
          <p15:clr>
            <a:srgbClr val="F26B43"/>
          </p15:clr>
        </p15:guide>
        <p15:guide id="23" pos="2676" userDrawn="1">
          <p15:clr>
            <a:srgbClr val="F26B43"/>
          </p15:clr>
        </p15:guide>
        <p15:guide id="24" pos="3084" userDrawn="1">
          <p15:clr>
            <a:srgbClr val="F26B43"/>
          </p15:clr>
        </p15:guide>
        <p15:guide id="25" pos="3288" userDrawn="1">
          <p15:clr>
            <a:srgbClr val="F26B43"/>
          </p15:clr>
        </p15:guide>
        <p15:guide id="26" pos="3492" userDrawn="1">
          <p15:clr>
            <a:srgbClr val="F26B43"/>
          </p15:clr>
        </p15:guide>
        <p15:guide id="27" pos="3696" userDrawn="1">
          <p15:clr>
            <a:srgbClr val="F26B43"/>
          </p15:clr>
        </p15:guide>
        <p15:guide id="28" pos="4332" userDrawn="1">
          <p15:clr>
            <a:srgbClr val="F26B43"/>
          </p15:clr>
        </p15:guide>
        <p15:guide id="29" pos="4536" userDrawn="1">
          <p15:clr>
            <a:srgbClr val="F26B43"/>
          </p15:clr>
        </p15:guide>
        <p15:guide id="30" pos="4740" userDrawn="1">
          <p15:clr>
            <a:srgbClr val="F26B43"/>
          </p15:clr>
        </p15:guide>
        <p15:guide id="31" pos="4944" userDrawn="1">
          <p15:clr>
            <a:srgbClr val="F26B43"/>
          </p15:clr>
        </p15:guide>
        <p15:guide id="32" pos="5148" userDrawn="1">
          <p15:clr>
            <a:srgbClr val="F26B43"/>
          </p15:clr>
        </p15:guide>
        <p15:guide id="33" pos="204" userDrawn="1">
          <p15:clr>
            <a:srgbClr val="F26B43"/>
          </p15:clr>
        </p15:guide>
        <p15:guide id="34" pos="5556" userDrawn="1">
          <p15:clr>
            <a:srgbClr val="F26B43"/>
          </p15:clr>
        </p15:guide>
        <p15:guide id="35" orient="horz" pos="1620" userDrawn="1">
          <p15:clr>
            <a:srgbClr val="F26B43"/>
          </p15:clr>
        </p15:guide>
        <p15:guide id="36" orient="horz" pos="3117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BFBAC50C-BF95-4E9C-30B4-EB39D776E596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0721311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86" name="Слайд think-cell" r:id="rId23" imgW="270" imgH="270" progId="TCLayout.ActiveDocument.1">
                  <p:embed/>
                </p:oleObj>
              </mc:Choice>
              <mc:Fallback>
                <p:oleObj name="Слайд think-cell" r:id="rId23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1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7701" y="339724"/>
            <a:ext cx="7848600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Образец заголовка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66828" y="4757635"/>
            <a:ext cx="329472" cy="19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 b="0">
                <a:solidFill>
                  <a:srgbClr val="003D4C">
                    <a:alpha val="55000"/>
                  </a:srgb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647700" y="4757635"/>
            <a:ext cx="5311574" cy="198551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lang="ru-RU" sz="1000" b="0" kern="1200" smtClean="0">
                <a:solidFill>
                  <a:srgbClr val="003D4C">
                    <a:alpha val="55000"/>
                  </a:srgb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/>
              <a:t>Название презентации</a:t>
            </a:r>
            <a:endParaRPr lang="ru-RU" dirty="0"/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6" name="Прямоугольник 35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49</a:t>
              </a:r>
              <a:br>
                <a:rPr lang="ru-RU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3" name="Прямоугольник 52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4" name="Прямоугольник 53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55" name="Прямоугольник 54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" name="TextBox 4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31" name="Прямоугольник 30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415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82" r:id="rId1"/>
    <p:sldLayoutId id="2147485083" r:id="rId2"/>
    <p:sldLayoutId id="2147485028" r:id="rId3"/>
    <p:sldLayoutId id="2147485054" r:id="rId4"/>
    <p:sldLayoutId id="2147485072" r:id="rId5"/>
    <p:sldLayoutId id="2147485056" r:id="rId6"/>
    <p:sldLayoutId id="2147485073" r:id="rId7"/>
    <p:sldLayoutId id="2147485055" r:id="rId8"/>
    <p:sldLayoutId id="2147485074" r:id="rId9"/>
    <p:sldLayoutId id="2147485071" r:id="rId10"/>
    <p:sldLayoutId id="2147485075" r:id="rId11"/>
    <p:sldLayoutId id="2147485077" r:id="rId12"/>
    <p:sldLayoutId id="2147485078" r:id="rId13"/>
    <p:sldLayoutId id="2147485070" r:id="rId14"/>
    <p:sldLayoutId id="2147485076" r:id="rId15"/>
    <p:sldLayoutId id="2147485057" r:id="rId16"/>
    <p:sldLayoutId id="2147485058" r:id="rId17"/>
  </p:sldLayoutIdLst>
  <p:timing>
    <p:tnLst>
      <p:par>
        <p:cTn id="1" dur="indefinite" restart="never" nodeType="tmRoot"/>
      </p:par>
    </p:tnLst>
  </p:timing>
  <p:hf hdr="0" dt="0"/>
  <p:txStyles>
    <p:titleStyle>
      <a:lvl1pPr marL="0" algn="l" defTabSz="778986" rtl="0" eaLnBrk="1" fontAlgn="base" latinLnBrk="0" hangingPunct="1">
        <a:lnSpc>
          <a:spcPts val="2500"/>
        </a:lnSpc>
        <a:spcBef>
          <a:spcPct val="0"/>
        </a:spcBef>
        <a:spcAft>
          <a:spcPct val="0"/>
        </a:spcAft>
        <a:defRPr lang="ru-RU" sz="2400" b="1" kern="1200" dirty="0">
          <a:solidFill>
            <a:schemeClr val="tx1"/>
          </a:solidFill>
          <a:effectLst/>
          <a:latin typeface="Arial" panose="020B0604020202020204" pitchFamily="34" charset="0"/>
          <a:ea typeface="Arial Bold" pitchFamily="34" charset="-122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defTabSz="778986" rtl="0" eaLnBrk="1" fontAlgn="base" latinLnBrk="0" hangingPunct="1">
        <a:lnSpc>
          <a:spcPts val="2250"/>
        </a:lnSpc>
        <a:spcBef>
          <a:spcPts val="0"/>
        </a:spcBef>
        <a:spcAft>
          <a:spcPts val="0"/>
        </a:spcAft>
        <a:buClr>
          <a:schemeClr val="tx2"/>
        </a:buClr>
        <a:buFont typeface="Wingdings" charset="2"/>
        <a:buNone/>
        <a:defRPr lang="ru-RU" sz="800" b="0" i="0" kern="1200" dirty="0" smtClean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1pPr>
      <a:lvl2pPr marL="0" indent="0" algn="l" defTabSz="778986" rtl="0" eaLnBrk="1" fontAlgn="base" latinLnBrk="0" hangingPunct="1">
        <a:lnSpc>
          <a:spcPts val="1485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1400" b="0" i="0" kern="1200" dirty="0" smtClean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2pPr>
      <a:lvl3pPr marL="0" indent="0" algn="l" defTabSz="778986" rtl="0" eaLnBrk="1" fontAlgn="base" latinLnBrk="0" hangingPunct="1">
        <a:lnSpc>
          <a:spcPts val="225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1100" b="0" i="0" kern="1200" dirty="0" smtClean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3pPr>
      <a:lvl4pPr marL="0" indent="0" algn="l" defTabSz="778986" rtl="0" eaLnBrk="1" fontAlgn="base" latinLnBrk="0" hangingPunct="1">
        <a:lnSpc>
          <a:spcPts val="1125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800" b="0" i="0" kern="1200" dirty="0" smtClean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4pPr>
      <a:lvl5pPr marL="0" indent="0" algn="l" defTabSz="778986" rtl="0" eaLnBrk="1" fontAlgn="base" latinLnBrk="0" hangingPunct="1">
        <a:lnSpc>
          <a:spcPts val="225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1875" kern="1200" dirty="0">
          <a:solidFill>
            <a:srgbClr val="003D4C">
              <a:alpha val="100000"/>
            </a:srgbClr>
          </a:solidFill>
          <a:latin typeface="Roboto Regular" pitchFamily="34" charset="0"/>
          <a:ea typeface="Roboto Regular" pitchFamily="34" charset="-122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408" userDrawn="1">
          <p15:clr>
            <a:srgbClr val="F26B43"/>
          </p15:clr>
        </p15:guide>
        <p15:guide id="3" orient="horz" pos="2845" userDrawn="1">
          <p15:clr>
            <a:srgbClr val="F26B43"/>
          </p15:clr>
        </p15:guide>
        <p15:guide id="4" pos="5352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3923" userDrawn="1">
          <p15:clr>
            <a:srgbClr val="F26B43"/>
          </p15:clr>
        </p15:guide>
        <p15:guide id="8" pos="1837" userDrawn="1">
          <p15:clr>
            <a:srgbClr val="F26B43"/>
          </p15:clr>
        </p15:guide>
        <p15:guide id="9" pos="4127" userDrawn="1">
          <p15:clr>
            <a:srgbClr val="F26B43"/>
          </p15:clr>
        </p15:guide>
        <p15:guide id="10" pos="612" userDrawn="1">
          <p15:clr>
            <a:srgbClr val="F26B43"/>
          </p15:clr>
        </p15:guide>
        <p15:guide id="11" pos="2880" userDrawn="1">
          <p15:clr>
            <a:srgbClr val="F26B43"/>
          </p15:clr>
        </p15:guide>
        <p15:guide id="12" orient="horz" pos="146" userDrawn="1">
          <p15:clr>
            <a:srgbClr val="F26B43"/>
          </p15:clr>
        </p15:guide>
        <p15:guide id="14" orient="horz" pos="1302" userDrawn="1">
          <p15:clr>
            <a:srgbClr val="F26B43"/>
          </p15:clr>
        </p15:guide>
        <p15:guide id="15" pos="816" userDrawn="1">
          <p15:clr>
            <a:srgbClr val="F26B43"/>
          </p15:clr>
        </p15:guide>
        <p15:guide id="16" pos="1020" userDrawn="1">
          <p15:clr>
            <a:srgbClr val="F26B43"/>
          </p15:clr>
        </p15:guide>
        <p15:guide id="17" pos="1224" userDrawn="1">
          <p15:clr>
            <a:srgbClr val="F26B43"/>
          </p15:clr>
        </p15:guide>
        <p15:guide id="18" pos="1429" userDrawn="1">
          <p15:clr>
            <a:srgbClr val="F26B43"/>
          </p15:clr>
        </p15:guide>
        <p15:guide id="19" pos="1633" userDrawn="1">
          <p15:clr>
            <a:srgbClr val="F26B43"/>
          </p15:clr>
        </p15:guide>
        <p15:guide id="20" pos="2041" userDrawn="1">
          <p15:clr>
            <a:srgbClr val="F26B43"/>
          </p15:clr>
        </p15:guide>
        <p15:guide id="21" pos="2245" userDrawn="1">
          <p15:clr>
            <a:srgbClr val="F26B43"/>
          </p15:clr>
        </p15:guide>
        <p15:guide id="22" pos="2449" userDrawn="1">
          <p15:clr>
            <a:srgbClr val="F26B43"/>
          </p15:clr>
        </p15:guide>
        <p15:guide id="23" pos="2676" userDrawn="1">
          <p15:clr>
            <a:srgbClr val="F26B43"/>
          </p15:clr>
        </p15:guide>
        <p15:guide id="24" pos="3084" userDrawn="1">
          <p15:clr>
            <a:srgbClr val="F26B43"/>
          </p15:clr>
        </p15:guide>
        <p15:guide id="25" pos="3288" userDrawn="1">
          <p15:clr>
            <a:srgbClr val="F26B43"/>
          </p15:clr>
        </p15:guide>
        <p15:guide id="26" pos="3492" userDrawn="1">
          <p15:clr>
            <a:srgbClr val="F26B43"/>
          </p15:clr>
        </p15:guide>
        <p15:guide id="27" pos="3696" userDrawn="1">
          <p15:clr>
            <a:srgbClr val="F26B43"/>
          </p15:clr>
        </p15:guide>
        <p15:guide id="28" pos="4332" userDrawn="1">
          <p15:clr>
            <a:srgbClr val="F26B43"/>
          </p15:clr>
        </p15:guide>
        <p15:guide id="29" pos="4536" userDrawn="1">
          <p15:clr>
            <a:srgbClr val="F26B43"/>
          </p15:clr>
        </p15:guide>
        <p15:guide id="30" pos="4740" userDrawn="1">
          <p15:clr>
            <a:srgbClr val="F26B43"/>
          </p15:clr>
        </p15:guide>
        <p15:guide id="31" pos="4944" userDrawn="1">
          <p15:clr>
            <a:srgbClr val="F26B43"/>
          </p15:clr>
        </p15:guide>
        <p15:guide id="32" pos="5148" userDrawn="1">
          <p15:clr>
            <a:srgbClr val="F26B43"/>
          </p15:clr>
        </p15:guide>
        <p15:guide id="33" pos="204" userDrawn="1">
          <p15:clr>
            <a:srgbClr val="F26B43"/>
          </p15:clr>
        </p15:guide>
        <p15:guide id="34" pos="5556" userDrawn="1">
          <p15:clr>
            <a:srgbClr val="F26B43"/>
          </p15:clr>
        </p15:guide>
        <p15:guide id="35" orient="horz" pos="1620" userDrawn="1">
          <p15:clr>
            <a:srgbClr val="F26B43"/>
          </p15:clr>
        </p15:guide>
        <p15:guide id="36" orient="horz" pos="3117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BFBAC50C-BF95-4E9C-30B4-EB39D776E59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721311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19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6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7701" y="339724"/>
            <a:ext cx="7848600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Образец заголовка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66828" y="4757635"/>
            <a:ext cx="329472" cy="19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 b="0">
                <a:solidFill>
                  <a:srgbClr val="003D4C">
                    <a:alpha val="55000"/>
                  </a:srgb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647700" y="4757635"/>
            <a:ext cx="5311574" cy="198551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lang="ru-RU" sz="1000" b="0" kern="1200" smtClean="0">
                <a:solidFill>
                  <a:srgbClr val="003D4C">
                    <a:alpha val="55000"/>
                  </a:srgb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/>
              <a:t>Название презентации</a:t>
            </a:r>
            <a:endParaRPr lang="ru-RU" dirty="0"/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6" name="Прямоугольник 35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49</a:t>
              </a:r>
              <a:br>
                <a:rPr lang="ru-RU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3" name="Прямоугольник 52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4" name="Прямоугольник 53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55" name="Прямоугольник 54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" name="TextBox 4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31" name="Прямоугольник 30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Текст 6">
            <a:extLst>
              <a:ext uri="{FF2B5EF4-FFF2-40B4-BE49-F238E27FC236}">
                <a16:creationId xmlns:a16="http://schemas.microsoft.com/office/drawing/2014/main" id="{F3C13BD2-ADA7-C0CA-262B-A053ACC3F1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7700" y="1370013"/>
            <a:ext cx="7867650" cy="32623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86194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81" r:id="rId1"/>
    <p:sldLayoutId id="2147485080" r:id="rId2"/>
  </p:sldLayoutIdLst>
  <p:timing>
    <p:tnLst>
      <p:par>
        <p:cTn id="1" dur="indefinite" restart="never" nodeType="tmRoot"/>
      </p:par>
    </p:tnLst>
  </p:timing>
  <p:hf hdr="0" dt="0"/>
  <p:txStyles>
    <p:titleStyle>
      <a:lvl1pPr marL="0" algn="l" defTabSz="778986" rtl="0" eaLnBrk="1" fontAlgn="base" latinLnBrk="0" hangingPunct="1">
        <a:lnSpc>
          <a:spcPts val="2500"/>
        </a:lnSpc>
        <a:spcBef>
          <a:spcPct val="0"/>
        </a:spcBef>
        <a:spcAft>
          <a:spcPct val="0"/>
        </a:spcAft>
        <a:defRPr lang="ru-RU" sz="2400" b="1" kern="1200" dirty="0">
          <a:solidFill>
            <a:schemeClr val="tx1"/>
          </a:solidFill>
          <a:effectLst/>
          <a:latin typeface="Arial" panose="020B0604020202020204" pitchFamily="34" charset="0"/>
          <a:ea typeface="Arial Bold" pitchFamily="34" charset="-122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defTabSz="778986" rtl="0" eaLnBrk="1" fontAlgn="base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Wingdings" charset="2"/>
        <a:buNone/>
        <a:defRPr lang="ru-RU" sz="1000" b="0" i="0" kern="1200" dirty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1pPr>
      <a:lvl2pPr marL="0" indent="0" algn="l" defTabSz="778986" rtl="0" eaLnBrk="1" fontAlgn="base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1400" b="0" i="0" kern="1200" dirty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2pPr>
      <a:lvl3pPr marL="0" indent="0" algn="l" defTabSz="778986" rtl="0" eaLnBrk="1" fontAlgn="base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1200" b="0" i="0" kern="1200" dirty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3pPr>
      <a:lvl4pPr marL="0" indent="0" algn="l" defTabSz="778986" rtl="0" eaLnBrk="1" fontAlgn="base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800" b="0" i="0" kern="1200" dirty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4pPr>
      <a:lvl5pPr marL="0" indent="0" algn="l" defTabSz="778986" rtl="0" eaLnBrk="1" fontAlgn="base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1800" kern="1200" dirty="0">
          <a:solidFill>
            <a:srgbClr val="003D4C">
              <a:alpha val="100000"/>
            </a:srgbClr>
          </a:solidFill>
          <a:latin typeface="Roboto Regular" pitchFamily="34" charset="0"/>
          <a:ea typeface="Roboto Regular" pitchFamily="34" charset="-122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408" userDrawn="1">
          <p15:clr>
            <a:srgbClr val="F26B43"/>
          </p15:clr>
        </p15:guide>
        <p15:guide id="3" orient="horz" pos="2845" userDrawn="1">
          <p15:clr>
            <a:srgbClr val="F26B43"/>
          </p15:clr>
        </p15:guide>
        <p15:guide id="4" pos="5352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3923" userDrawn="1">
          <p15:clr>
            <a:srgbClr val="F26B43"/>
          </p15:clr>
        </p15:guide>
        <p15:guide id="8" pos="1837" userDrawn="1">
          <p15:clr>
            <a:srgbClr val="F26B43"/>
          </p15:clr>
        </p15:guide>
        <p15:guide id="9" pos="4127" userDrawn="1">
          <p15:clr>
            <a:srgbClr val="F26B43"/>
          </p15:clr>
        </p15:guide>
        <p15:guide id="10" pos="612" userDrawn="1">
          <p15:clr>
            <a:srgbClr val="F26B43"/>
          </p15:clr>
        </p15:guide>
        <p15:guide id="11" pos="2880" userDrawn="1">
          <p15:clr>
            <a:srgbClr val="F26B43"/>
          </p15:clr>
        </p15:guide>
        <p15:guide id="12" orient="horz" pos="146" userDrawn="1">
          <p15:clr>
            <a:srgbClr val="F26B43"/>
          </p15:clr>
        </p15:guide>
        <p15:guide id="14" orient="horz" pos="1302" userDrawn="1">
          <p15:clr>
            <a:srgbClr val="F26B43"/>
          </p15:clr>
        </p15:guide>
        <p15:guide id="15" pos="816" userDrawn="1">
          <p15:clr>
            <a:srgbClr val="F26B43"/>
          </p15:clr>
        </p15:guide>
        <p15:guide id="16" pos="1020" userDrawn="1">
          <p15:clr>
            <a:srgbClr val="F26B43"/>
          </p15:clr>
        </p15:guide>
        <p15:guide id="17" pos="1224" userDrawn="1">
          <p15:clr>
            <a:srgbClr val="F26B43"/>
          </p15:clr>
        </p15:guide>
        <p15:guide id="18" pos="1429" userDrawn="1">
          <p15:clr>
            <a:srgbClr val="F26B43"/>
          </p15:clr>
        </p15:guide>
        <p15:guide id="19" pos="1633" userDrawn="1">
          <p15:clr>
            <a:srgbClr val="F26B43"/>
          </p15:clr>
        </p15:guide>
        <p15:guide id="20" pos="2041" userDrawn="1">
          <p15:clr>
            <a:srgbClr val="F26B43"/>
          </p15:clr>
        </p15:guide>
        <p15:guide id="21" pos="2245" userDrawn="1">
          <p15:clr>
            <a:srgbClr val="F26B43"/>
          </p15:clr>
        </p15:guide>
        <p15:guide id="22" pos="2449" userDrawn="1">
          <p15:clr>
            <a:srgbClr val="F26B43"/>
          </p15:clr>
        </p15:guide>
        <p15:guide id="23" pos="2676" userDrawn="1">
          <p15:clr>
            <a:srgbClr val="F26B43"/>
          </p15:clr>
        </p15:guide>
        <p15:guide id="24" pos="3084" userDrawn="1">
          <p15:clr>
            <a:srgbClr val="F26B43"/>
          </p15:clr>
        </p15:guide>
        <p15:guide id="25" pos="3288" userDrawn="1">
          <p15:clr>
            <a:srgbClr val="F26B43"/>
          </p15:clr>
        </p15:guide>
        <p15:guide id="26" pos="3492" userDrawn="1">
          <p15:clr>
            <a:srgbClr val="F26B43"/>
          </p15:clr>
        </p15:guide>
        <p15:guide id="27" pos="3696" userDrawn="1">
          <p15:clr>
            <a:srgbClr val="F26B43"/>
          </p15:clr>
        </p15:guide>
        <p15:guide id="28" pos="4332" userDrawn="1">
          <p15:clr>
            <a:srgbClr val="F26B43"/>
          </p15:clr>
        </p15:guide>
        <p15:guide id="29" pos="4536" userDrawn="1">
          <p15:clr>
            <a:srgbClr val="F26B43"/>
          </p15:clr>
        </p15:guide>
        <p15:guide id="30" pos="4740" userDrawn="1">
          <p15:clr>
            <a:srgbClr val="F26B43"/>
          </p15:clr>
        </p15:guide>
        <p15:guide id="31" pos="4944" userDrawn="1">
          <p15:clr>
            <a:srgbClr val="F26B43"/>
          </p15:clr>
        </p15:guide>
        <p15:guide id="32" pos="5148" userDrawn="1">
          <p15:clr>
            <a:srgbClr val="F26B43"/>
          </p15:clr>
        </p15:guide>
        <p15:guide id="33" pos="204" userDrawn="1">
          <p15:clr>
            <a:srgbClr val="F26B43"/>
          </p15:clr>
        </p15:guide>
        <p15:guide id="34" pos="5556" userDrawn="1">
          <p15:clr>
            <a:srgbClr val="F26B43"/>
          </p15:clr>
        </p15:guide>
        <p15:guide id="35" orient="horz" pos="1620" userDrawn="1">
          <p15:clr>
            <a:srgbClr val="F26B43"/>
          </p15:clr>
        </p15:guide>
        <p15:guide id="36" orient="horz" pos="3117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BFBAC50C-BF95-4E9C-30B4-EB39D776E59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0721311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91" name="Слайд think-cell" r:id="rId9" imgW="270" imgH="270" progId="TCLayout.ActiveDocument.1">
                  <p:embed/>
                </p:oleObj>
              </mc:Choice>
              <mc:Fallback>
                <p:oleObj name="Слайд think-cell" r:id="rId9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7701" y="339724"/>
            <a:ext cx="7848600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Образец заголовка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66828" y="4757635"/>
            <a:ext cx="329472" cy="19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 b="0">
                <a:solidFill>
                  <a:srgbClr val="003D4C">
                    <a:alpha val="55000"/>
                  </a:srgb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647700" y="4757635"/>
            <a:ext cx="5311574" cy="198551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lang="ru-RU" sz="1000" b="0" kern="1200" smtClean="0">
                <a:solidFill>
                  <a:srgbClr val="003D4C">
                    <a:alpha val="55000"/>
                  </a:srgb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/>
              <a:t>Название презентации</a:t>
            </a:r>
            <a:endParaRPr lang="ru-RU" dirty="0"/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6" name="Прямоугольник 35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49</a:t>
              </a:r>
              <a:br>
                <a:rPr lang="ru-RU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3" name="Прямоугольник 52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4" name="Прямоугольник 53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55" name="Прямоугольник 54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" name="TextBox 4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31" name="Прямоугольник 30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Текст 6">
            <a:extLst>
              <a:ext uri="{FF2B5EF4-FFF2-40B4-BE49-F238E27FC236}">
                <a16:creationId xmlns:a16="http://schemas.microsoft.com/office/drawing/2014/main" id="{1E7972C6-719A-7F78-06B2-734A2FCB2C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7700" y="1370013"/>
            <a:ext cx="7867650" cy="32623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10036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67" r:id="rId1"/>
    <p:sldLayoutId id="2147485068" r:id="rId2"/>
    <p:sldLayoutId id="2147485069" r:id="rId3"/>
  </p:sldLayoutIdLst>
  <p:timing>
    <p:tnLst>
      <p:par>
        <p:cTn id="1" dur="indefinite" restart="never" nodeType="tmRoot"/>
      </p:par>
    </p:tnLst>
  </p:timing>
  <p:hf hdr="0" dt="0"/>
  <p:txStyles>
    <p:titleStyle>
      <a:lvl1pPr marL="0" algn="l" defTabSz="778986" rtl="0" eaLnBrk="1" fontAlgn="base" latinLnBrk="0" hangingPunct="1">
        <a:lnSpc>
          <a:spcPts val="2500"/>
        </a:lnSpc>
        <a:spcBef>
          <a:spcPct val="0"/>
        </a:spcBef>
        <a:spcAft>
          <a:spcPct val="0"/>
        </a:spcAft>
        <a:defRPr lang="ru-RU" sz="2400" b="1" kern="1200" dirty="0">
          <a:solidFill>
            <a:schemeClr val="tx1"/>
          </a:solidFill>
          <a:effectLst/>
          <a:latin typeface="Arial" panose="020B0604020202020204" pitchFamily="34" charset="0"/>
          <a:ea typeface="Arial Bold" pitchFamily="34" charset="-122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defTabSz="778986" rtl="0" eaLnBrk="1" fontAlgn="base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Wingdings" charset="2"/>
        <a:buNone/>
        <a:defRPr lang="ru-RU" sz="1000" b="0" i="0" kern="1200" dirty="0" smtClean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1pPr>
      <a:lvl2pPr marL="0" indent="0" algn="l" defTabSz="778986" rtl="0" eaLnBrk="1" fontAlgn="base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1400" b="0" i="0" kern="1200" dirty="0" smtClean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2pPr>
      <a:lvl3pPr marL="0" indent="0" algn="l" defTabSz="778986" rtl="0" eaLnBrk="1" fontAlgn="base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1200" b="0" i="0" kern="1200" dirty="0" smtClean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3pPr>
      <a:lvl4pPr marL="0" indent="0" algn="l" defTabSz="778986" rtl="0" eaLnBrk="1" fontAlgn="base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800" b="0" i="0" kern="1200" dirty="0" smtClean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4pPr>
      <a:lvl5pPr marL="0" indent="0" algn="l" defTabSz="778986" rtl="0" eaLnBrk="1" fontAlgn="base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1800" kern="1200" dirty="0">
          <a:solidFill>
            <a:srgbClr val="003D4C">
              <a:alpha val="100000"/>
            </a:srgbClr>
          </a:solidFill>
          <a:latin typeface="Roboto Regular" pitchFamily="34" charset="0"/>
          <a:ea typeface="Roboto Regular" pitchFamily="34" charset="-122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408" userDrawn="1">
          <p15:clr>
            <a:srgbClr val="F26B43"/>
          </p15:clr>
        </p15:guide>
        <p15:guide id="3" orient="horz" pos="2845" userDrawn="1">
          <p15:clr>
            <a:srgbClr val="F26B43"/>
          </p15:clr>
        </p15:guide>
        <p15:guide id="4" pos="5352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3923" userDrawn="1">
          <p15:clr>
            <a:srgbClr val="F26B43"/>
          </p15:clr>
        </p15:guide>
        <p15:guide id="8" pos="1837" userDrawn="1">
          <p15:clr>
            <a:srgbClr val="F26B43"/>
          </p15:clr>
        </p15:guide>
        <p15:guide id="9" pos="4127" userDrawn="1">
          <p15:clr>
            <a:srgbClr val="F26B43"/>
          </p15:clr>
        </p15:guide>
        <p15:guide id="10" pos="612" userDrawn="1">
          <p15:clr>
            <a:srgbClr val="F26B43"/>
          </p15:clr>
        </p15:guide>
        <p15:guide id="11" pos="2880" userDrawn="1">
          <p15:clr>
            <a:srgbClr val="F26B43"/>
          </p15:clr>
        </p15:guide>
        <p15:guide id="12" orient="horz" pos="146" userDrawn="1">
          <p15:clr>
            <a:srgbClr val="F26B43"/>
          </p15:clr>
        </p15:guide>
        <p15:guide id="14" orient="horz" pos="1302" userDrawn="1">
          <p15:clr>
            <a:srgbClr val="F26B43"/>
          </p15:clr>
        </p15:guide>
        <p15:guide id="15" pos="816" userDrawn="1">
          <p15:clr>
            <a:srgbClr val="F26B43"/>
          </p15:clr>
        </p15:guide>
        <p15:guide id="16" pos="1020" userDrawn="1">
          <p15:clr>
            <a:srgbClr val="F26B43"/>
          </p15:clr>
        </p15:guide>
        <p15:guide id="17" pos="1224" userDrawn="1">
          <p15:clr>
            <a:srgbClr val="F26B43"/>
          </p15:clr>
        </p15:guide>
        <p15:guide id="18" pos="1429" userDrawn="1">
          <p15:clr>
            <a:srgbClr val="F26B43"/>
          </p15:clr>
        </p15:guide>
        <p15:guide id="19" pos="1633" userDrawn="1">
          <p15:clr>
            <a:srgbClr val="F26B43"/>
          </p15:clr>
        </p15:guide>
        <p15:guide id="20" pos="2041" userDrawn="1">
          <p15:clr>
            <a:srgbClr val="F26B43"/>
          </p15:clr>
        </p15:guide>
        <p15:guide id="21" pos="2245" userDrawn="1">
          <p15:clr>
            <a:srgbClr val="F26B43"/>
          </p15:clr>
        </p15:guide>
        <p15:guide id="22" pos="2449" userDrawn="1">
          <p15:clr>
            <a:srgbClr val="F26B43"/>
          </p15:clr>
        </p15:guide>
        <p15:guide id="23" pos="2676" userDrawn="1">
          <p15:clr>
            <a:srgbClr val="F26B43"/>
          </p15:clr>
        </p15:guide>
        <p15:guide id="24" pos="3084" userDrawn="1">
          <p15:clr>
            <a:srgbClr val="F26B43"/>
          </p15:clr>
        </p15:guide>
        <p15:guide id="25" pos="3288" userDrawn="1">
          <p15:clr>
            <a:srgbClr val="F26B43"/>
          </p15:clr>
        </p15:guide>
        <p15:guide id="26" pos="3492" userDrawn="1">
          <p15:clr>
            <a:srgbClr val="F26B43"/>
          </p15:clr>
        </p15:guide>
        <p15:guide id="27" pos="3696" userDrawn="1">
          <p15:clr>
            <a:srgbClr val="F26B43"/>
          </p15:clr>
        </p15:guide>
        <p15:guide id="28" pos="4332" userDrawn="1">
          <p15:clr>
            <a:srgbClr val="F26B43"/>
          </p15:clr>
        </p15:guide>
        <p15:guide id="29" pos="4536" userDrawn="1">
          <p15:clr>
            <a:srgbClr val="F26B43"/>
          </p15:clr>
        </p15:guide>
        <p15:guide id="30" pos="4740" userDrawn="1">
          <p15:clr>
            <a:srgbClr val="F26B43"/>
          </p15:clr>
        </p15:guide>
        <p15:guide id="31" pos="4944" userDrawn="1">
          <p15:clr>
            <a:srgbClr val="F26B43"/>
          </p15:clr>
        </p15:guide>
        <p15:guide id="32" pos="5148" userDrawn="1">
          <p15:clr>
            <a:srgbClr val="F26B43"/>
          </p15:clr>
        </p15:guide>
        <p15:guide id="33" pos="204" userDrawn="1">
          <p15:clr>
            <a:srgbClr val="F26B43"/>
          </p15:clr>
        </p15:guide>
        <p15:guide id="34" pos="5556" userDrawn="1">
          <p15:clr>
            <a:srgbClr val="F26B43"/>
          </p15:clr>
        </p15:guide>
        <p15:guide id="35" orient="horz" pos="1620" userDrawn="1">
          <p15:clr>
            <a:srgbClr val="F26B43"/>
          </p15:clr>
        </p15:guide>
        <p15:guide id="36" orient="horz" pos="3117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BFBAC50C-BF95-4E9C-30B4-EB39D776E59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0721311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39" name="Слайд think-cell" r:id="rId11" imgW="270" imgH="270" progId="TCLayout.ActiveDocument.1">
                  <p:embed/>
                </p:oleObj>
              </mc:Choice>
              <mc:Fallback>
                <p:oleObj name="Слайд think-cell" r:id="rId11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7701" y="339724"/>
            <a:ext cx="7848600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Образец заголовка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66828" y="4757635"/>
            <a:ext cx="329472" cy="19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 b="0">
                <a:solidFill>
                  <a:srgbClr val="003D4C">
                    <a:alpha val="55000"/>
                  </a:srgb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647700" y="4757635"/>
            <a:ext cx="5311574" cy="198551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778986" rtl="0" eaLnBrk="1" latinLnBrk="0" hangingPunct="1">
              <a:defRPr lang="ru-RU" sz="1000" b="0" kern="1200" smtClean="0">
                <a:solidFill>
                  <a:srgbClr val="003D4C">
                    <a:alpha val="5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ru-RU"/>
              <a:t>Название презентации</a:t>
            </a:r>
            <a:endParaRPr lang="ru-RU" dirty="0"/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6" name="Прямоугольник 35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49</a:t>
              </a:r>
              <a:br>
                <a:rPr lang="ru-RU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3" name="Прямоугольник 52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4" name="Прямоугольник 53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55" name="Прямоугольник 54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" name="TextBox 4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31" name="Прямоугольник 30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Текст 6"/>
          <p:cNvSpPr>
            <a:spLocks noGrp="1"/>
          </p:cNvSpPr>
          <p:nvPr>
            <p:ph type="body" idx="1"/>
          </p:nvPr>
        </p:nvSpPr>
        <p:spPr>
          <a:xfrm>
            <a:off x="647700" y="1536710"/>
            <a:ext cx="7848600" cy="29797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60596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21" r:id="rId1"/>
    <p:sldLayoutId id="2147485020" r:id="rId2"/>
    <p:sldLayoutId id="2147485022" r:id="rId3"/>
    <p:sldLayoutId id="2147484994" r:id="rId4"/>
    <p:sldLayoutId id="2147485019" r:id="rId5"/>
  </p:sldLayoutIdLst>
  <p:timing>
    <p:tnLst>
      <p:par>
        <p:cTn id="1" dur="indefinite" restart="never" nodeType="tmRoot"/>
      </p:par>
    </p:tnLst>
  </p:timing>
  <p:hf hdr="0" dt="0"/>
  <p:txStyles>
    <p:titleStyle>
      <a:lvl1pPr marL="0" algn="l" defTabSz="778986" rtl="0" eaLnBrk="1" fontAlgn="base" latinLnBrk="0" hangingPunct="1">
        <a:lnSpc>
          <a:spcPts val="2500"/>
        </a:lnSpc>
        <a:spcBef>
          <a:spcPct val="0"/>
        </a:spcBef>
        <a:spcAft>
          <a:spcPct val="0"/>
        </a:spcAft>
        <a:defRPr lang="ru-RU" sz="2400" b="1" kern="1200" dirty="0">
          <a:solidFill>
            <a:schemeClr val="tx1"/>
          </a:solidFill>
          <a:effectLst/>
          <a:latin typeface="Arial" panose="020B0604020202020204" pitchFamily="34" charset="0"/>
          <a:ea typeface="Arial Bold" pitchFamily="34" charset="-122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defTabSz="778986" rtl="0" eaLnBrk="1" fontAlgn="base" latinLnBrk="0" hangingPunct="1">
        <a:lnSpc>
          <a:spcPts val="2250"/>
        </a:lnSpc>
        <a:spcBef>
          <a:spcPts val="0"/>
        </a:spcBef>
        <a:spcAft>
          <a:spcPts val="0"/>
        </a:spcAft>
        <a:buClr>
          <a:schemeClr val="tx2"/>
        </a:buClr>
        <a:buFont typeface="Wingdings" charset="2"/>
        <a:buNone/>
        <a:defRPr lang="ru-RU" sz="1000" b="0" i="0" kern="1200" dirty="0" smtClean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1pPr>
      <a:lvl2pPr marL="0" indent="0" algn="l" defTabSz="778986" rtl="0" eaLnBrk="1" fontAlgn="base" latinLnBrk="0" hangingPunct="1">
        <a:lnSpc>
          <a:spcPts val="1485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1400" b="0" i="0" kern="1200" dirty="0" smtClean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2pPr>
      <a:lvl3pPr marL="0" indent="0" algn="l" defTabSz="778986" rtl="0" eaLnBrk="1" fontAlgn="base" latinLnBrk="0" hangingPunct="1">
        <a:lnSpc>
          <a:spcPts val="225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1200" b="0" i="0" kern="1200" dirty="0" smtClean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3pPr>
      <a:lvl4pPr marL="0" indent="0" algn="l" defTabSz="778986" rtl="0" eaLnBrk="1" fontAlgn="base" latinLnBrk="0" hangingPunct="1">
        <a:lnSpc>
          <a:spcPts val="1125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800" b="0" i="0" kern="1200" dirty="0" smtClean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4pPr>
      <a:lvl5pPr marL="0" indent="0" algn="l" defTabSz="778986" rtl="0" eaLnBrk="1" fontAlgn="base" latinLnBrk="0" hangingPunct="1">
        <a:lnSpc>
          <a:spcPts val="225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1875" kern="1200" dirty="0">
          <a:solidFill>
            <a:srgbClr val="003D4C">
              <a:alpha val="100000"/>
            </a:srgbClr>
          </a:solidFill>
          <a:latin typeface="Roboto Regular" pitchFamily="34" charset="0"/>
          <a:ea typeface="Roboto Regular" pitchFamily="34" charset="-122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408" userDrawn="1">
          <p15:clr>
            <a:srgbClr val="F26B43"/>
          </p15:clr>
        </p15:guide>
        <p15:guide id="3" orient="horz" pos="2845" userDrawn="1">
          <p15:clr>
            <a:srgbClr val="F26B43"/>
          </p15:clr>
        </p15:guide>
        <p15:guide id="4" pos="5352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3923" userDrawn="1">
          <p15:clr>
            <a:srgbClr val="F26B43"/>
          </p15:clr>
        </p15:guide>
        <p15:guide id="8" pos="1837" userDrawn="1">
          <p15:clr>
            <a:srgbClr val="F26B43"/>
          </p15:clr>
        </p15:guide>
        <p15:guide id="9" pos="4127" userDrawn="1">
          <p15:clr>
            <a:srgbClr val="F26B43"/>
          </p15:clr>
        </p15:guide>
        <p15:guide id="10" pos="612" userDrawn="1">
          <p15:clr>
            <a:srgbClr val="F26B43"/>
          </p15:clr>
        </p15:guide>
        <p15:guide id="11" pos="2880" userDrawn="1">
          <p15:clr>
            <a:srgbClr val="F26B43"/>
          </p15:clr>
        </p15:guide>
        <p15:guide id="12" orient="horz" pos="146" userDrawn="1">
          <p15:clr>
            <a:srgbClr val="F26B43"/>
          </p15:clr>
        </p15:guide>
        <p15:guide id="14" orient="horz" pos="1302" userDrawn="1">
          <p15:clr>
            <a:srgbClr val="F26B43"/>
          </p15:clr>
        </p15:guide>
        <p15:guide id="15" pos="816" userDrawn="1">
          <p15:clr>
            <a:srgbClr val="F26B43"/>
          </p15:clr>
        </p15:guide>
        <p15:guide id="16" pos="1020" userDrawn="1">
          <p15:clr>
            <a:srgbClr val="F26B43"/>
          </p15:clr>
        </p15:guide>
        <p15:guide id="17" pos="1224" userDrawn="1">
          <p15:clr>
            <a:srgbClr val="F26B43"/>
          </p15:clr>
        </p15:guide>
        <p15:guide id="18" pos="1429" userDrawn="1">
          <p15:clr>
            <a:srgbClr val="F26B43"/>
          </p15:clr>
        </p15:guide>
        <p15:guide id="19" pos="1633" userDrawn="1">
          <p15:clr>
            <a:srgbClr val="F26B43"/>
          </p15:clr>
        </p15:guide>
        <p15:guide id="20" pos="2041" userDrawn="1">
          <p15:clr>
            <a:srgbClr val="F26B43"/>
          </p15:clr>
        </p15:guide>
        <p15:guide id="21" pos="2245" userDrawn="1">
          <p15:clr>
            <a:srgbClr val="F26B43"/>
          </p15:clr>
        </p15:guide>
        <p15:guide id="22" pos="2449" userDrawn="1">
          <p15:clr>
            <a:srgbClr val="F26B43"/>
          </p15:clr>
        </p15:guide>
        <p15:guide id="23" pos="2676" userDrawn="1">
          <p15:clr>
            <a:srgbClr val="F26B43"/>
          </p15:clr>
        </p15:guide>
        <p15:guide id="24" pos="3084" userDrawn="1">
          <p15:clr>
            <a:srgbClr val="F26B43"/>
          </p15:clr>
        </p15:guide>
        <p15:guide id="25" pos="3288" userDrawn="1">
          <p15:clr>
            <a:srgbClr val="F26B43"/>
          </p15:clr>
        </p15:guide>
        <p15:guide id="26" pos="3492" userDrawn="1">
          <p15:clr>
            <a:srgbClr val="F26B43"/>
          </p15:clr>
        </p15:guide>
        <p15:guide id="27" pos="3696" userDrawn="1">
          <p15:clr>
            <a:srgbClr val="F26B43"/>
          </p15:clr>
        </p15:guide>
        <p15:guide id="28" pos="4332" userDrawn="1">
          <p15:clr>
            <a:srgbClr val="F26B43"/>
          </p15:clr>
        </p15:guide>
        <p15:guide id="29" pos="4536" userDrawn="1">
          <p15:clr>
            <a:srgbClr val="F26B43"/>
          </p15:clr>
        </p15:guide>
        <p15:guide id="30" pos="4740" userDrawn="1">
          <p15:clr>
            <a:srgbClr val="F26B43"/>
          </p15:clr>
        </p15:guide>
        <p15:guide id="31" pos="4944" userDrawn="1">
          <p15:clr>
            <a:srgbClr val="F26B43"/>
          </p15:clr>
        </p15:guide>
        <p15:guide id="32" pos="5148" userDrawn="1">
          <p15:clr>
            <a:srgbClr val="F26B43"/>
          </p15:clr>
        </p15:guide>
        <p15:guide id="33" pos="204" userDrawn="1">
          <p15:clr>
            <a:srgbClr val="F26B43"/>
          </p15:clr>
        </p15:guide>
        <p15:guide id="34" pos="5556" userDrawn="1">
          <p15:clr>
            <a:srgbClr val="F26B43"/>
          </p15:clr>
        </p15:guide>
        <p15:guide id="35" orient="horz" pos="1620" userDrawn="1">
          <p15:clr>
            <a:srgbClr val="F26B43"/>
          </p15:clr>
        </p15:guide>
        <p15:guide id="36" orient="horz" pos="3117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BFBAC50C-BF95-4E9C-30B4-EB39D776E59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721311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83" name="Слайд think-cell" r:id="rId7" imgW="270" imgH="270" progId="TCLayout.ActiveDocument.1">
                  <p:embed/>
                </p:oleObj>
              </mc:Choice>
              <mc:Fallback>
                <p:oleObj name="Слайд think-cell" r:id="rId7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5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7701" y="339724"/>
            <a:ext cx="7848600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marL="0" lv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Образец заголовка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(заголовок не более 2 строк)</a:t>
            </a:r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6" name="Прямоугольник 35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49</a:t>
              </a:r>
              <a:br>
                <a:rPr lang="ru-RU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3" name="Прямоугольник 52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4" name="Прямоугольник 53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55" name="Прямоугольник 54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" name="TextBox 4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31" name="Прямоугольник 30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Текст 6"/>
          <p:cNvSpPr>
            <a:spLocks noGrp="1"/>
          </p:cNvSpPr>
          <p:nvPr>
            <p:ph type="body" idx="1"/>
          </p:nvPr>
        </p:nvSpPr>
        <p:spPr>
          <a:xfrm>
            <a:off x="647700" y="1536710"/>
            <a:ext cx="7848600" cy="29797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93296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66" r:id="rId1"/>
  </p:sldLayoutIdLst>
  <p:timing>
    <p:tnLst>
      <p:par>
        <p:cTn id="1" dur="indefinite" restart="never" nodeType="tmRoot"/>
      </p:par>
    </p:tnLst>
  </p:timing>
  <p:hf hdr="0" dt="0"/>
  <p:txStyles>
    <p:titleStyle>
      <a:lvl1pPr marL="0" algn="l" defTabSz="778986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defRPr lang="ru-RU" sz="2400" b="1" kern="1200" dirty="0">
          <a:solidFill>
            <a:schemeClr val="tx1"/>
          </a:solidFill>
          <a:effectLst/>
          <a:latin typeface="Arial" panose="020B0604020202020204" pitchFamily="34" charset="0"/>
          <a:ea typeface="Arial Bold" pitchFamily="34" charset="-122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defTabSz="778986" rtl="0" eaLnBrk="1" fontAlgn="base" latinLnBrk="0" hangingPunct="1">
        <a:lnSpc>
          <a:spcPts val="2250"/>
        </a:lnSpc>
        <a:spcBef>
          <a:spcPts val="0"/>
        </a:spcBef>
        <a:spcAft>
          <a:spcPts val="0"/>
        </a:spcAft>
        <a:buClr>
          <a:schemeClr val="tx2"/>
        </a:buClr>
        <a:buFont typeface="Wingdings" charset="2"/>
        <a:buNone/>
        <a:defRPr lang="ru-RU" sz="1800" b="0" i="0" kern="1200" dirty="0" smtClean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1pPr>
      <a:lvl2pPr marL="0" indent="0" algn="l" defTabSz="778986" rtl="0" eaLnBrk="1" fontAlgn="base" latinLnBrk="0" hangingPunct="1">
        <a:lnSpc>
          <a:spcPts val="1485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1400" b="0" i="0" kern="1200" dirty="0" smtClean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2pPr>
      <a:lvl3pPr marL="0" indent="0" algn="l" defTabSz="778986" rtl="0" eaLnBrk="1" fontAlgn="base" latinLnBrk="0" hangingPunct="1">
        <a:lnSpc>
          <a:spcPts val="225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1100" b="0" i="0" kern="1200" dirty="0" smtClean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3pPr>
      <a:lvl4pPr marL="0" indent="0" algn="l" defTabSz="778986" rtl="0" eaLnBrk="1" fontAlgn="base" latinLnBrk="0" hangingPunct="1">
        <a:lnSpc>
          <a:spcPts val="1125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800" b="0" i="0" kern="1200" dirty="0" smtClean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4pPr>
      <a:lvl5pPr marL="0" indent="0" algn="l" defTabSz="778986" rtl="0" eaLnBrk="1" fontAlgn="base" latinLnBrk="0" hangingPunct="1">
        <a:lnSpc>
          <a:spcPts val="225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1875" kern="1200" dirty="0">
          <a:solidFill>
            <a:srgbClr val="003D4C">
              <a:alpha val="100000"/>
            </a:srgbClr>
          </a:solidFill>
          <a:latin typeface="Roboto Regular" pitchFamily="34" charset="0"/>
          <a:ea typeface="Roboto Regular" pitchFamily="34" charset="-122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408" userDrawn="1">
          <p15:clr>
            <a:srgbClr val="F26B43"/>
          </p15:clr>
        </p15:guide>
        <p15:guide id="3" orient="horz" pos="2845" userDrawn="1">
          <p15:clr>
            <a:srgbClr val="F26B43"/>
          </p15:clr>
        </p15:guide>
        <p15:guide id="4" pos="5352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3923" userDrawn="1">
          <p15:clr>
            <a:srgbClr val="F26B43"/>
          </p15:clr>
        </p15:guide>
        <p15:guide id="8" pos="1837" userDrawn="1">
          <p15:clr>
            <a:srgbClr val="F26B43"/>
          </p15:clr>
        </p15:guide>
        <p15:guide id="9" pos="4127" userDrawn="1">
          <p15:clr>
            <a:srgbClr val="F26B43"/>
          </p15:clr>
        </p15:guide>
        <p15:guide id="10" pos="612" userDrawn="1">
          <p15:clr>
            <a:srgbClr val="F26B43"/>
          </p15:clr>
        </p15:guide>
        <p15:guide id="11" pos="2880" userDrawn="1">
          <p15:clr>
            <a:srgbClr val="F26B43"/>
          </p15:clr>
        </p15:guide>
        <p15:guide id="12" orient="horz" pos="146" userDrawn="1">
          <p15:clr>
            <a:srgbClr val="F26B43"/>
          </p15:clr>
        </p15:guide>
        <p15:guide id="14" orient="horz" pos="1302" userDrawn="1">
          <p15:clr>
            <a:srgbClr val="F26B43"/>
          </p15:clr>
        </p15:guide>
        <p15:guide id="15" pos="816" userDrawn="1">
          <p15:clr>
            <a:srgbClr val="F26B43"/>
          </p15:clr>
        </p15:guide>
        <p15:guide id="16" pos="1020" userDrawn="1">
          <p15:clr>
            <a:srgbClr val="F26B43"/>
          </p15:clr>
        </p15:guide>
        <p15:guide id="17" pos="1224" userDrawn="1">
          <p15:clr>
            <a:srgbClr val="F26B43"/>
          </p15:clr>
        </p15:guide>
        <p15:guide id="18" pos="1429" userDrawn="1">
          <p15:clr>
            <a:srgbClr val="F26B43"/>
          </p15:clr>
        </p15:guide>
        <p15:guide id="19" pos="1633" userDrawn="1">
          <p15:clr>
            <a:srgbClr val="F26B43"/>
          </p15:clr>
        </p15:guide>
        <p15:guide id="20" pos="2041" userDrawn="1">
          <p15:clr>
            <a:srgbClr val="F26B43"/>
          </p15:clr>
        </p15:guide>
        <p15:guide id="21" pos="2245" userDrawn="1">
          <p15:clr>
            <a:srgbClr val="F26B43"/>
          </p15:clr>
        </p15:guide>
        <p15:guide id="22" pos="2449" userDrawn="1">
          <p15:clr>
            <a:srgbClr val="F26B43"/>
          </p15:clr>
        </p15:guide>
        <p15:guide id="23" pos="2676" userDrawn="1">
          <p15:clr>
            <a:srgbClr val="F26B43"/>
          </p15:clr>
        </p15:guide>
        <p15:guide id="24" pos="3084" userDrawn="1">
          <p15:clr>
            <a:srgbClr val="F26B43"/>
          </p15:clr>
        </p15:guide>
        <p15:guide id="25" pos="3288" userDrawn="1">
          <p15:clr>
            <a:srgbClr val="F26B43"/>
          </p15:clr>
        </p15:guide>
        <p15:guide id="26" pos="3492" userDrawn="1">
          <p15:clr>
            <a:srgbClr val="F26B43"/>
          </p15:clr>
        </p15:guide>
        <p15:guide id="27" pos="3696" userDrawn="1">
          <p15:clr>
            <a:srgbClr val="F26B43"/>
          </p15:clr>
        </p15:guide>
        <p15:guide id="28" pos="4332" userDrawn="1">
          <p15:clr>
            <a:srgbClr val="F26B43"/>
          </p15:clr>
        </p15:guide>
        <p15:guide id="29" pos="4536" userDrawn="1">
          <p15:clr>
            <a:srgbClr val="F26B43"/>
          </p15:clr>
        </p15:guide>
        <p15:guide id="30" pos="4740" userDrawn="1">
          <p15:clr>
            <a:srgbClr val="F26B43"/>
          </p15:clr>
        </p15:guide>
        <p15:guide id="31" pos="4944" userDrawn="1">
          <p15:clr>
            <a:srgbClr val="F26B43"/>
          </p15:clr>
        </p15:guide>
        <p15:guide id="32" pos="5148" userDrawn="1">
          <p15:clr>
            <a:srgbClr val="F26B43"/>
          </p15:clr>
        </p15:guide>
        <p15:guide id="33" pos="204" userDrawn="1">
          <p15:clr>
            <a:srgbClr val="F26B43"/>
          </p15:clr>
        </p15:guide>
        <p15:guide id="34" pos="5556" userDrawn="1">
          <p15:clr>
            <a:srgbClr val="F26B43"/>
          </p15:clr>
        </p15:guide>
        <p15:guide id="35" orient="horz" pos="1620" userDrawn="1">
          <p15:clr>
            <a:srgbClr val="F26B43"/>
          </p15:clr>
        </p15:guide>
        <p15:guide id="36" orient="horz" pos="3117" userDrawn="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053492945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33" name="Слайд think-cell" r:id="rId10" imgW="270" imgH="270" progId="TCLayout.ActiveDocument.1">
                  <p:embed/>
                </p:oleObj>
              </mc:Choice>
              <mc:Fallback>
                <p:oleObj name="Слайд think-cell" r:id="rId10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66828" y="4757635"/>
            <a:ext cx="329472" cy="19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 b="0">
                <a:solidFill>
                  <a:srgbClr val="003D4C">
                    <a:alpha val="55000"/>
                  </a:srgb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6" name="Прямоугольник 35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49</a:t>
              </a:r>
              <a:br>
                <a:rPr lang="ru-RU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3" name="Прямоугольник 52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4" name="Прямоугольник 53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55" name="Прямоугольник 54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" name="TextBox 4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31" name="Прямоугольник 30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  <p:sp>
        <p:nvSpPr>
          <p:cNvPr id="10" name="Заголовок 8">
            <a:extLst>
              <a:ext uri="{FF2B5EF4-FFF2-40B4-BE49-F238E27FC236}">
                <a16:creationId xmlns:a16="http://schemas.microsoft.com/office/drawing/2014/main" id="{7747CC2B-192C-6E1E-0F1B-152726F866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362774"/>
            <a:ext cx="7822200" cy="228127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marL="0" lvl="0" algn="l" defTabSz="77898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303107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62" r:id="rId1"/>
    <p:sldLayoutId id="2147485163" r:id="rId2"/>
    <p:sldLayoutId id="2147485164" r:id="rId3"/>
    <p:sldLayoutId id="2147485165" r:id="rId4"/>
    <p:sldLayoutId id="2147485170" r:id="rId5"/>
  </p:sldLayoutIdLst>
  <p:timing>
    <p:tnLst>
      <p:par>
        <p:cTn id="1" dur="indefinite" restart="never" nodeType="tmRoot"/>
      </p:par>
    </p:tnLst>
  </p:timing>
  <p:hf hdr="0" dt="0"/>
  <p:txStyles>
    <p:titleStyle>
      <a:lvl1pPr marL="0" algn="l" defTabSz="778986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defRPr lang="ru-RU" sz="4000" b="1" i="0" kern="1200" dirty="0">
          <a:solidFill>
            <a:srgbClr val="00313C"/>
          </a:solidFill>
          <a:latin typeface="Arial" panose="020B0604020202020204" pitchFamily="34" charset="0"/>
          <a:ea typeface="Roboto SemiBold" pitchFamily="34" charset="-122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defTabSz="778986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buFont typeface="Wingdings" charset="2"/>
        <a:buNone/>
        <a:defRPr lang="ru-RU" sz="4000" b="1" i="0" kern="1200" dirty="0">
          <a:solidFill>
            <a:srgbClr val="00313C"/>
          </a:solidFill>
          <a:latin typeface="Arial" panose="020B0604020202020204" pitchFamily="34" charset="0"/>
          <a:ea typeface="Roboto SemiBold" pitchFamily="34" charset="-122"/>
          <a:cs typeface="Arial" panose="020B0604020202020204" pitchFamily="34" charset="0"/>
        </a:defRPr>
      </a:lvl1pPr>
      <a:lvl2pPr marL="0" indent="0" algn="l" defTabSz="778986" rtl="0" eaLnBrk="1" fontAlgn="base" latinLnBrk="0" hangingPunct="1">
        <a:lnSpc>
          <a:spcPts val="1485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1100" b="0" i="0" kern="1200" dirty="0" smtClean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2pPr>
      <a:lvl3pPr marL="0" indent="0" algn="l" defTabSz="778986" rtl="0" eaLnBrk="1" fontAlgn="base" latinLnBrk="0" hangingPunct="1">
        <a:lnSpc>
          <a:spcPts val="225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1100" b="0" i="0" kern="1200" dirty="0" smtClean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3pPr>
      <a:lvl4pPr marL="0" indent="0" algn="l" defTabSz="778986" rtl="0" eaLnBrk="1" fontAlgn="base" latinLnBrk="0" hangingPunct="1">
        <a:lnSpc>
          <a:spcPts val="1125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800" b="0" i="0" kern="1200" dirty="0" smtClean="0">
          <a:solidFill>
            <a:srgbClr val="003D4C">
              <a:alpha val="100000"/>
            </a:srgbClr>
          </a:solidFill>
          <a:latin typeface="Arial" panose="020B0604020202020204" pitchFamily="34" charset="0"/>
          <a:ea typeface="Roboto Regular" pitchFamily="34" charset="-122"/>
          <a:cs typeface="Arial" panose="020B0604020202020204" pitchFamily="34" charset="0"/>
        </a:defRPr>
      </a:lvl4pPr>
      <a:lvl5pPr marL="0" indent="0" algn="l" defTabSz="778986" rtl="0" eaLnBrk="1" fontAlgn="base" latinLnBrk="0" hangingPunct="1">
        <a:lnSpc>
          <a:spcPts val="225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lang="ru-RU" sz="1875" kern="1200" dirty="0">
          <a:solidFill>
            <a:srgbClr val="003D4C">
              <a:alpha val="100000"/>
            </a:srgbClr>
          </a:solidFill>
          <a:latin typeface="Roboto Regular" pitchFamily="34" charset="0"/>
          <a:ea typeface="Roboto Regular" pitchFamily="34" charset="-122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408" userDrawn="1">
          <p15:clr>
            <a:srgbClr val="F26B43"/>
          </p15:clr>
        </p15:guide>
        <p15:guide id="3" orient="horz" pos="2845" userDrawn="1">
          <p15:clr>
            <a:srgbClr val="F26B43"/>
          </p15:clr>
        </p15:guide>
        <p15:guide id="4" pos="5352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3923" userDrawn="1">
          <p15:clr>
            <a:srgbClr val="F26B43"/>
          </p15:clr>
        </p15:guide>
        <p15:guide id="8" pos="1837" userDrawn="1">
          <p15:clr>
            <a:srgbClr val="F26B43"/>
          </p15:clr>
        </p15:guide>
        <p15:guide id="9" pos="4127" userDrawn="1">
          <p15:clr>
            <a:srgbClr val="F26B43"/>
          </p15:clr>
        </p15:guide>
        <p15:guide id="10" pos="612" userDrawn="1">
          <p15:clr>
            <a:srgbClr val="F26B43"/>
          </p15:clr>
        </p15:guide>
        <p15:guide id="11" pos="2880" userDrawn="1">
          <p15:clr>
            <a:srgbClr val="F26B43"/>
          </p15:clr>
        </p15:guide>
        <p15:guide id="12" orient="horz" pos="146" userDrawn="1">
          <p15:clr>
            <a:srgbClr val="F26B43"/>
          </p15:clr>
        </p15:guide>
        <p15:guide id="14" orient="horz" pos="1302" userDrawn="1">
          <p15:clr>
            <a:srgbClr val="F26B43"/>
          </p15:clr>
        </p15:guide>
        <p15:guide id="15" pos="816" userDrawn="1">
          <p15:clr>
            <a:srgbClr val="F26B43"/>
          </p15:clr>
        </p15:guide>
        <p15:guide id="16" pos="1020" userDrawn="1">
          <p15:clr>
            <a:srgbClr val="F26B43"/>
          </p15:clr>
        </p15:guide>
        <p15:guide id="17" pos="1224" userDrawn="1">
          <p15:clr>
            <a:srgbClr val="F26B43"/>
          </p15:clr>
        </p15:guide>
        <p15:guide id="18" pos="1429" userDrawn="1">
          <p15:clr>
            <a:srgbClr val="F26B43"/>
          </p15:clr>
        </p15:guide>
        <p15:guide id="19" pos="1633" userDrawn="1">
          <p15:clr>
            <a:srgbClr val="F26B43"/>
          </p15:clr>
        </p15:guide>
        <p15:guide id="20" pos="2041" userDrawn="1">
          <p15:clr>
            <a:srgbClr val="F26B43"/>
          </p15:clr>
        </p15:guide>
        <p15:guide id="21" pos="2245" userDrawn="1">
          <p15:clr>
            <a:srgbClr val="F26B43"/>
          </p15:clr>
        </p15:guide>
        <p15:guide id="22" pos="2449" userDrawn="1">
          <p15:clr>
            <a:srgbClr val="F26B43"/>
          </p15:clr>
        </p15:guide>
        <p15:guide id="23" pos="2676" userDrawn="1">
          <p15:clr>
            <a:srgbClr val="F26B43"/>
          </p15:clr>
        </p15:guide>
        <p15:guide id="24" pos="3084" userDrawn="1">
          <p15:clr>
            <a:srgbClr val="F26B43"/>
          </p15:clr>
        </p15:guide>
        <p15:guide id="25" pos="3288" userDrawn="1">
          <p15:clr>
            <a:srgbClr val="F26B43"/>
          </p15:clr>
        </p15:guide>
        <p15:guide id="26" pos="3492" userDrawn="1">
          <p15:clr>
            <a:srgbClr val="F26B43"/>
          </p15:clr>
        </p15:guide>
        <p15:guide id="27" pos="3696" userDrawn="1">
          <p15:clr>
            <a:srgbClr val="F26B43"/>
          </p15:clr>
        </p15:guide>
        <p15:guide id="28" pos="4332" userDrawn="1">
          <p15:clr>
            <a:srgbClr val="F26B43"/>
          </p15:clr>
        </p15:guide>
        <p15:guide id="29" pos="4536" userDrawn="1">
          <p15:clr>
            <a:srgbClr val="F26B43"/>
          </p15:clr>
        </p15:guide>
        <p15:guide id="30" pos="4740" userDrawn="1">
          <p15:clr>
            <a:srgbClr val="F26B43"/>
          </p15:clr>
        </p15:guide>
        <p15:guide id="31" pos="4944" userDrawn="1">
          <p15:clr>
            <a:srgbClr val="F26B43"/>
          </p15:clr>
        </p15:guide>
        <p15:guide id="32" pos="5148" userDrawn="1">
          <p15:clr>
            <a:srgbClr val="F26B43"/>
          </p15:clr>
        </p15:guide>
        <p15:guide id="33" orient="horz" pos="1552" userDrawn="1">
          <p15:clr>
            <a:srgbClr val="F26B43"/>
          </p15:clr>
        </p15:guide>
        <p15:guide id="34" pos="204" userDrawn="1">
          <p15:clr>
            <a:srgbClr val="F26B43"/>
          </p15:clr>
        </p15:guide>
        <p15:guide id="35" pos="5556" userDrawn="1">
          <p15:clr>
            <a:srgbClr val="F26B43"/>
          </p15:clr>
        </p15:guide>
        <p15:guide id="36" orient="horz" pos="1620" userDrawn="1">
          <p15:clr>
            <a:srgbClr val="F26B43"/>
          </p15:clr>
        </p15:guide>
        <p15:guide id="37" orient="horz" pos="311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58.xml"/><Relationship Id="rId7" Type="http://schemas.openxmlformats.org/officeDocument/2006/relationships/image" Target="../media/image11.png"/><Relationship Id="rId2" Type="http://schemas.openxmlformats.org/officeDocument/2006/relationships/tags" Target="../tags/tag113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1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3.bin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ufa.aif.ru/society/details/-sila-slova-literaturnyy-festival-v-bashkirii-sobral-2000-lyubiteley-knig" TargetMode="External"/><Relationship Id="rId2" Type="http://schemas.openxmlformats.org/officeDocument/2006/relationships/hyperlink" Target="https://www.kommersant.ru/doc/8024126?erid=F7NfYUJCUneTSUKLrphr&amp;ysclid=mfge3f971y367279487" TargetMode="Externa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39.jpeg"/><Relationship Id="rId4" Type="http://schemas.openxmlformats.org/officeDocument/2006/relationships/image" Target="../media/image3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hyperlink" Target="https://blagpanorama.com/news/novosti/2021-06-16/v-blagoveschenske-poyavilsya-novyy-art-ob-ekt-2361974?ysclid=mfgokgv8293819849" TargetMode="Externa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41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4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4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vk.com/panoramanews?w=wall-71985852_98820" TargetMode="Externa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21.png"/><Relationship Id="rId4" Type="http://schemas.openxmlformats.org/officeDocument/2006/relationships/hyperlink" Target="https://blagpanorama.com/news/obshchestvo/2023-09-05/v-blagoveschenske-poyavilas-novaya-meteostantsiya-3420198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hyperlink" Target="https://tehnoparkblagrb.02edu.ru/pupils/news/3206610/?ysclid=mezmwsxoqe976560298" TargetMode="External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vk.com/wall-78442975_6696" TargetMode="External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25.jpg"/><Relationship Id="rId4" Type="http://schemas.openxmlformats.org/officeDocument/2006/relationships/hyperlink" Target="https://vk.com/wall-78442975_8668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utv.ru/material/v-blagoveshenske-shkolnikov-vstretili-obnovlennye-koridory-i-klassy/?ysclid=mfgoe88v5l598816873" TargetMode="External"/><Relationship Id="rId7" Type="http://schemas.openxmlformats.org/officeDocument/2006/relationships/image" Target="../media/image29.png"/><Relationship Id="rId2" Type="http://schemas.openxmlformats.org/officeDocument/2006/relationships/hyperlink" Target="https://vk.com/wall-78442975_5691" TargetMode="Externa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28.pn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ommersant.ru/doc/6579022?ysclid=mfgo7j8cy662439813" TargetMode="External"/><Relationship Id="rId2" Type="http://schemas.openxmlformats.org/officeDocument/2006/relationships/hyperlink" Target="https://www.sibur.ru/polief/press-center/professiya-v-karmane-pervyy-shag-k-neftekhimii/?ysclid=mfgo8wld25543719430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3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vk.com/wall-71985852_96043?ysclid=mfgcb6kqo204765465" TargetMode="External"/><Relationship Id="rId7" Type="http://schemas.openxmlformats.org/officeDocument/2006/relationships/image" Target="../media/image37.jpeg"/><Relationship Id="rId2" Type="http://schemas.openxmlformats.org/officeDocument/2006/relationships/hyperlink" Target="https://blagoveshensk.bashkortostan.ru/presscenter/news/714411/?ysclid=mfgcb8t7lm149889645" TargetMode="Externa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6.png"/><Relationship Id="rId5" Type="http://schemas.openxmlformats.org/officeDocument/2006/relationships/image" Target="../media/image35.jpeg"/><Relationship Id="rId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73F8DF-3899-49C1-3C3A-21381964BA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7091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5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10584EA5-4A1F-2C8C-78E6-14FE0F64AF31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4600" y="0"/>
            <a:ext cx="6629400" cy="514350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9443AE7D-7AC0-9B73-0FBD-E23D27DC083A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3448" y="0"/>
            <a:ext cx="9178278" cy="5155200"/>
          </a:xfrm>
          <a:custGeom>
            <a:avLst/>
            <a:gdLst>
              <a:gd name="connsiteX0" fmla="*/ 1086052 w 9178278"/>
              <a:gd name="connsiteY0" fmla="*/ 580853 h 5155200"/>
              <a:gd name="connsiteX1" fmla="*/ 1086032 w 9178278"/>
              <a:gd name="connsiteY1" fmla="*/ 581044 h 5155200"/>
              <a:gd name="connsiteX2" fmla="*/ 1086051 w 9178278"/>
              <a:gd name="connsiteY2" fmla="*/ 580854 h 5155200"/>
              <a:gd name="connsiteX3" fmla="*/ 1382646 w 9178278"/>
              <a:gd name="connsiteY3" fmla="*/ 490802 h 5155200"/>
              <a:gd name="connsiteX4" fmla="*/ 1412131 w 9178278"/>
              <a:gd name="connsiteY4" fmla="*/ 490802 h 5155200"/>
              <a:gd name="connsiteX5" fmla="*/ 1407403 w 9178278"/>
              <a:gd name="connsiteY5" fmla="*/ 541846 h 5155200"/>
              <a:gd name="connsiteX6" fmla="*/ 1378228 w 9178278"/>
              <a:gd name="connsiteY6" fmla="*/ 541846 h 5155200"/>
              <a:gd name="connsiteX7" fmla="*/ 1972927 w 9178278"/>
              <a:gd name="connsiteY7" fmla="*/ 397841 h 5155200"/>
              <a:gd name="connsiteX8" fmla="*/ 2001865 w 9178278"/>
              <a:gd name="connsiteY8" fmla="*/ 398166 h 5155200"/>
              <a:gd name="connsiteX9" fmla="*/ 1995037 w 9178278"/>
              <a:gd name="connsiteY9" fmla="*/ 466448 h 5155200"/>
              <a:gd name="connsiteX10" fmla="*/ 1966099 w 9178278"/>
              <a:gd name="connsiteY10" fmla="*/ 466448 h 5155200"/>
              <a:gd name="connsiteX11" fmla="*/ 1127891 w 9178278"/>
              <a:gd name="connsiteY11" fmla="*/ 360973 h 5155200"/>
              <a:gd name="connsiteX12" fmla="*/ 1127658 w 9178278"/>
              <a:gd name="connsiteY12" fmla="*/ 363274 h 5155200"/>
              <a:gd name="connsiteX13" fmla="*/ 1127658 w 9178278"/>
              <a:gd name="connsiteY13" fmla="*/ 363273 h 5155200"/>
              <a:gd name="connsiteX14" fmla="*/ 990005 w 9178278"/>
              <a:gd name="connsiteY14" fmla="*/ 334495 h 5155200"/>
              <a:gd name="connsiteX15" fmla="*/ 965548 w 9178278"/>
              <a:gd name="connsiteY15" fmla="*/ 607125 h 5155200"/>
              <a:gd name="connsiteX16" fmla="*/ 1000408 w 9178278"/>
              <a:gd name="connsiteY16" fmla="*/ 607125 h 5155200"/>
              <a:gd name="connsiteX17" fmla="*/ 1054090 w 9178278"/>
              <a:gd name="connsiteY17" fmla="*/ 607125 h 5155200"/>
              <a:gd name="connsiteX18" fmla="*/ 1057959 w 9178278"/>
              <a:gd name="connsiteY18" fmla="*/ 607125 h 5155200"/>
              <a:gd name="connsiteX19" fmla="*/ 1057959 w 9178278"/>
              <a:gd name="connsiteY19" fmla="*/ 606735 h 5155200"/>
              <a:gd name="connsiteX20" fmla="*/ 1060660 w 9178278"/>
              <a:gd name="connsiteY20" fmla="*/ 606463 h 5155200"/>
              <a:gd name="connsiteX21" fmla="*/ 1077142 w 9178278"/>
              <a:gd name="connsiteY21" fmla="*/ 597578 h 5155200"/>
              <a:gd name="connsiteX22" fmla="*/ 1083064 w 9178278"/>
              <a:gd name="connsiteY22" fmla="*/ 588792 h 5155200"/>
              <a:gd name="connsiteX23" fmla="*/ 1084128 w 9178278"/>
              <a:gd name="connsiteY23" fmla="*/ 587215 h 5155200"/>
              <a:gd name="connsiteX24" fmla="*/ 1086027 w 9178278"/>
              <a:gd name="connsiteY24" fmla="*/ 581097 h 5155200"/>
              <a:gd name="connsiteX25" fmla="*/ 1086032 w 9178278"/>
              <a:gd name="connsiteY25" fmla="*/ 581044 h 5155200"/>
              <a:gd name="connsiteX26" fmla="*/ 1123178 w 9178278"/>
              <a:gd name="connsiteY26" fmla="*/ 484063 h 5155200"/>
              <a:gd name="connsiteX27" fmla="*/ 1110813 w 9178278"/>
              <a:gd name="connsiteY27" fmla="*/ 607125 h 5155200"/>
              <a:gd name="connsiteX28" fmla="*/ 1227144 w 9178278"/>
              <a:gd name="connsiteY28" fmla="*/ 607125 h 5155200"/>
              <a:gd name="connsiteX29" fmla="*/ 1251602 w 9178278"/>
              <a:gd name="connsiteY29" fmla="*/ 334495 h 5155200"/>
              <a:gd name="connsiteX30" fmla="*/ 1219429 w 9178278"/>
              <a:gd name="connsiteY30" fmla="*/ 334495 h 5155200"/>
              <a:gd name="connsiteX31" fmla="*/ 1159872 w 9178278"/>
              <a:gd name="connsiteY31" fmla="*/ 334495 h 5155200"/>
              <a:gd name="connsiteX32" fmla="*/ 1155829 w 9178278"/>
              <a:gd name="connsiteY32" fmla="*/ 334495 h 5155200"/>
              <a:gd name="connsiteX33" fmla="*/ 1155829 w 9178278"/>
              <a:gd name="connsiteY33" fmla="*/ 334902 h 5155200"/>
              <a:gd name="connsiteX34" fmla="*/ 1153302 w 9178278"/>
              <a:gd name="connsiteY34" fmla="*/ 335157 h 5155200"/>
              <a:gd name="connsiteX35" fmla="*/ 1136822 w 9178278"/>
              <a:gd name="connsiteY35" fmla="*/ 344043 h 5155200"/>
              <a:gd name="connsiteX36" fmla="*/ 1130193 w 9178278"/>
              <a:gd name="connsiteY36" fmla="*/ 353874 h 5155200"/>
              <a:gd name="connsiteX37" fmla="*/ 1129836 w 9178278"/>
              <a:gd name="connsiteY37" fmla="*/ 354404 h 5155200"/>
              <a:gd name="connsiteX38" fmla="*/ 1127936 w 9178278"/>
              <a:gd name="connsiteY38" fmla="*/ 360524 h 5155200"/>
              <a:gd name="connsiteX39" fmla="*/ 1127891 w 9178278"/>
              <a:gd name="connsiteY39" fmla="*/ 360973 h 5155200"/>
              <a:gd name="connsiteX40" fmla="*/ 1091078 w 9178278"/>
              <a:gd name="connsiteY40" fmla="*/ 474465 h 5155200"/>
              <a:gd name="connsiteX41" fmla="*/ 1105863 w 9178278"/>
              <a:gd name="connsiteY41" fmla="*/ 334495 h 5155200"/>
              <a:gd name="connsiteX42" fmla="*/ 728516 w 9178278"/>
              <a:gd name="connsiteY42" fmla="*/ 334495 h 5155200"/>
              <a:gd name="connsiteX43" fmla="*/ 698479 w 9178278"/>
              <a:gd name="connsiteY43" fmla="*/ 354404 h 5155200"/>
              <a:gd name="connsiteX44" fmla="*/ 697048 w 9178278"/>
              <a:gd name="connsiteY44" fmla="*/ 359014 h 5155200"/>
              <a:gd name="connsiteX45" fmla="*/ 696116 w 9178278"/>
              <a:gd name="connsiteY45" fmla="*/ 369071 h 5155200"/>
              <a:gd name="connsiteX46" fmla="*/ 696117 w 9178278"/>
              <a:gd name="connsiteY46" fmla="*/ 369072 h 5155200"/>
              <a:gd name="connsiteX47" fmla="*/ 677096 w 9178278"/>
              <a:gd name="connsiteY47" fmla="*/ 574419 h 5155200"/>
              <a:gd name="connsiteX48" fmla="*/ 677022 w 9178278"/>
              <a:gd name="connsiteY48" fmla="*/ 575209 h 5155200"/>
              <a:gd name="connsiteX49" fmla="*/ 677681 w 9178278"/>
              <a:gd name="connsiteY49" fmla="*/ 581746 h 5155200"/>
              <a:gd name="connsiteX50" fmla="*/ 703048 w 9178278"/>
              <a:gd name="connsiteY50" fmla="*/ 607113 h 5155200"/>
              <a:gd name="connsiteX51" fmla="*/ 703166 w 9178278"/>
              <a:gd name="connsiteY51" fmla="*/ 607125 h 5155200"/>
              <a:gd name="connsiteX52" fmla="*/ 716069 w 9178278"/>
              <a:gd name="connsiteY52" fmla="*/ 607125 h 5155200"/>
              <a:gd name="connsiteX53" fmla="*/ 900515 w 9178278"/>
              <a:gd name="connsiteY53" fmla="*/ 607125 h 5155200"/>
              <a:gd name="connsiteX54" fmla="*/ 900516 w 9178278"/>
              <a:gd name="connsiteY54" fmla="*/ 607125 h 5155200"/>
              <a:gd name="connsiteX55" fmla="*/ 913418 w 9178278"/>
              <a:gd name="connsiteY55" fmla="*/ 607125 h 5155200"/>
              <a:gd name="connsiteX56" fmla="*/ 913537 w 9178278"/>
              <a:gd name="connsiteY56" fmla="*/ 607113 h 5155200"/>
              <a:gd name="connsiteX57" fmla="*/ 937003 w 9178278"/>
              <a:gd name="connsiteY57" fmla="*/ 587866 h 5155200"/>
              <a:gd name="connsiteX58" fmla="*/ 937980 w 9178278"/>
              <a:gd name="connsiteY58" fmla="*/ 584718 h 5155200"/>
              <a:gd name="connsiteX59" fmla="*/ 938967 w 9178278"/>
              <a:gd name="connsiteY59" fmla="*/ 574071 h 5155200"/>
              <a:gd name="connsiteX60" fmla="*/ 939279 w 9178278"/>
              <a:gd name="connsiteY60" fmla="*/ 574071 h 5155200"/>
              <a:gd name="connsiteX61" fmla="*/ 939279 w 9178278"/>
              <a:gd name="connsiteY61" fmla="*/ 570700 h 5155200"/>
              <a:gd name="connsiteX62" fmla="*/ 947249 w 9178278"/>
              <a:gd name="connsiteY62" fmla="*/ 484655 h 5155200"/>
              <a:gd name="connsiteX63" fmla="*/ 831145 w 9178278"/>
              <a:gd name="connsiteY63" fmla="*/ 484655 h 5155200"/>
              <a:gd name="connsiteX64" fmla="*/ 825847 w 9178278"/>
              <a:gd name="connsiteY64" fmla="*/ 541846 h 5155200"/>
              <a:gd name="connsiteX65" fmla="*/ 795804 w 9178278"/>
              <a:gd name="connsiteY65" fmla="*/ 541846 h 5155200"/>
              <a:gd name="connsiteX66" fmla="*/ 809012 w 9178278"/>
              <a:gd name="connsiteY66" fmla="*/ 399259 h 5155200"/>
              <a:gd name="connsiteX67" fmla="*/ 839055 w 9178278"/>
              <a:gd name="connsiteY67" fmla="*/ 399259 h 5155200"/>
              <a:gd name="connsiteX68" fmla="*/ 834187 w 9178278"/>
              <a:gd name="connsiteY68" fmla="*/ 451816 h 5155200"/>
              <a:gd name="connsiteX69" fmla="*/ 950291 w 9178278"/>
              <a:gd name="connsiteY69" fmla="*/ 451816 h 5155200"/>
              <a:gd name="connsiteX70" fmla="*/ 957427 w 9178278"/>
              <a:gd name="connsiteY70" fmla="*/ 374784 h 5155200"/>
              <a:gd name="connsiteX71" fmla="*/ 958367 w 9178278"/>
              <a:gd name="connsiteY71" fmla="*/ 364632 h 5155200"/>
              <a:gd name="connsiteX72" fmla="*/ 957910 w 9178278"/>
              <a:gd name="connsiteY72" fmla="*/ 360090 h 5155200"/>
              <a:gd name="connsiteX73" fmla="*/ 932543 w 9178278"/>
              <a:gd name="connsiteY73" fmla="*/ 334723 h 5155200"/>
              <a:gd name="connsiteX74" fmla="*/ 930273 w 9178278"/>
              <a:gd name="connsiteY74" fmla="*/ 334495 h 5155200"/>
              <a:gd name="connsiteX75" fmla="*/ 921672 w 9178278"/>
              <a:gd name="connsiteY75" fmla="*/ 334495 h 5155200"/>
              <a:gd name="connsiteX76" fmla="*/ 1832433 w 9178278"/>
              <a:gd name="connsiteY76" fmla="*/ 334465 h 5155200"/>
              <a:gd name="connsiteX77" fmla="*/ 1717280 w 9178278"/>
              <a:gd name="connsiteY77" fmla="*/ 334479 h 5155200"/>
              <a:gd name="connsiteX78" fmla="*/ 1705907 w 9178278"/>
              <a:gd name="connsiteY78" fmla="*/ 459074 h 5155200"/>
              <a:gd name="connsiteX79" fmla="*/ 1676943 w 9178278"/>
              <a:gd name="connsiteY79" fmla="*/ 458641 h 5155200"/>
              <a:gd name="connsiteX80" fmla="*/ 1687796 w 9178278"/>
              <a:gd name="connsiteY80" fmla="*/ 334481 h 5155200"/>
              <a:gd name="connsiteX81" fmla="*/ 1571121 w 9178278"/>
              <a:gd name="connsiteY81" fmla="*/ 334495 h 5155200"/>
              <a:gd name="connsiteX82" fmla="*/ 1558631 w 9178278"/>
              <a:gd name="connsiteY82" fmla="*/ 475763 h 5155200"/>
              <a:gd name="connsiteX83" fmla="*/ 1557778 w 9178278"/>
              <a:gd name="connsiteY83" fmla="*/ 485402 h 5155200"/>
              <a:gd name="connsiteX84" fmla="*/ 1558253 w 9178278"/>
              <a:gd name="connsiteY84" fmla="*/ 490117 h 5155200"/>
              <a:gd name="connsiteX85" fmla="*/ 1577501 w 9178278"/>
              <a:gd name="connsiteY85" fmla="*/ 513584 h 5155200"/>
              <a:gd name="connsiteX86" fmla="*/ 1582950 w 9178278"/>
              <a:gd name="connsiteY86" fmla="*/ 515276 h 5155200"/>
              <a:gd name="connsiteX87" fmla="*/ 1597335 w 9178278"/>
              <a:gd name="connsiteY87" fmla="*/ 515305 h 5155200"/>
              <a:gd name="connsiteX88" fmla="*/ 1700380 w 9178278"/>
              <a:gd name="connsiteY88" fmla="*/ 515513 h 5155200"/>
              <a:gd name="connsiteX89" fmla="*/ 1698252 w 9178278"/>
              <a:gd name="connsiteY89" fmla="*/ 542712 h 5155200"/>
              <a:gd name="connsiteX90" fmla="*/ 1552726 w 9178278"/>
              <a:gd name="connsiteY90" fmla="*/ 542532 h 5155200"/>
              <a:gd name="connsiteX91" fmla="*/ 1547015 w 9178278"/>
              <a:gd name="connsiteY91" fmla="*/ 607125 h 5155200"/>
              <a:gd name="connsiteX92" fmla="*/ 1772487 w 9178278"/>
              <a:gd name="connsiteY92" fmla="*/ 607125 h 5155200"/>
              <a:gd name="connsiteX93" fmla="*/ 1772488 w 9178278"/>
              <a:gd name="connsiteY93" fmla="*/ 607125 h 5155200"/>
              <a:gd name="connsiteX94" fmla="*/ 1785390 w 9178278"/>
              <a:gd name="connsiteY94" fmla="*/ 607125 h 5155200"/>
              <a:gd name="connsiteX95" fmla="*/ 1785508 w 9178278"/>
              <a:gd name="connsiteY95" fmla="*/ 607113 h 5155200"/>
              <a:gd name="connsiteX96" fmla="*/ 1808976 w 9178278"/>
              <a:gd name="connsiteY96" fmla="*/ 587866 h 5155200"/>
              <a:gd name="connsiteX97" fmla="*/ 1809952 w 9178278"/>
              <a:gd name="connsiteY97" fmla="*/ 584718 h 5155200"/>
              <a:gd name="connsiteX98" fmla="*/ 1810938 w 9178278"/>
              <a:gd name="connsiteY98" fmla="*/ 574071 h 5155200"/>
              <a:gd name="connsiteX99" fmla="*/ 1811251 w 9178278"/>
              <a:gd name="connsiteY99" fmla="*/ 574071 h 5155200"/>
              <a:gd name="connsiteX100" fmla="*/ 1811251 w 9178278"/>
              <a:gd name="connsiteY100" fmla="*/ 570700 h 5155200"/>
              <a:gd name="connsiteX101" fmla="*/ 1542018 w 9178278"/>
              <a:gd name="connsiteY101" fmla="*/ 334465 h 5155200"/>
              <a:gd name="connsiteX102" fmla="*/ 1280706 w 9178278"/>
              <a:gd name="connsiteY102" fmla="*/ 334495 h 5155200"/>
              <a:gd name="connsiteX103" fmla="*/ 1256600 w 9178278"/>
              <a:gd name="connsiteY103" fmla="*/ 607125 h 5155200"/>
              <a:gd name="connsiteX104" fmla="*/ 1482071 w 9178278"/>
              <a:gd name="connsiteY104" fmla="*/ 607125 h 5155200"/>
              <a:gd name="connsiteX105" fmla="*/ 1482072 w 9178278"/>
              <a:gd name="connsiteY105" fmla="*/ 607125 h 5155200"/>
              <a:gd name="connsiteX106" fmla="*/ 1494975 w 9178278"/>
              <a:gd name="connsiteY106" fmla="*/ 607125 h 5155200"/>
              <a:gd name="connsiteX107" fmla="*/ 1495093 w 9178278"/>
              <a:gd name="connsiteY107" fmla="*/ 607113 h 5155200"/>
              <a:gd name="connsiteX108" fmla="*/ 1518560 w 9178278"/>
              <a:gd name="connsiteY108" fmla="*/ 587866 h 5155200"/>
              <a:gd name="connsiteX109" fmla="*/ 1519537 w 9178278"/>
              <a:gd name="connsiteY109" fmla="*/ 584718 h 5155200"/>
              <a:gd name="connsiteX110" fmla="*/ 1520523 w 9178278"/>
              <a:gd name="connsiteY110" fmla="*/ 574071 h 5155200"/>
              <a:gd name="connsiteX111" fmla="*/ 1520835 w 9178278"/>
              <a:gd name="connsiteY111" fmla="*/ 574071 h 5155200"/>
              <a:gd name="connsiteX112" fmla="*/ 1520835 w 9178278"/>
              <a:gd name="connsiteY112" fmla="*/ 570700 h 5155200"/>
              <a:gd name="connsiteX113" fmla="*/ 1527374 w 9178278"/>
              <a:gd name="connsiteY113" fmla="*/ 500115 h 5155200"/>
              <a:gd name="connsiteX114" fmla="*/ 1527630 w 9178278"/>
              <a:gd name="connsiteY114" fmla="*/ 500115 h 5155200"/>
              <a:gd name="connsiteX115" fmla="*/ 1530760 w 9178278"/>
              <a:gd name="connsiteY115" fmla="*/ 466328 h 5155200"/>
              <a:gd name="connsiteX116" fmla="*/ 1531701 w 9178278"/>
              <a:gd name="connsiteY116" fmla="*/ 456176 h 5155200"/>
              <a:gd name="connsiteX117" fmla="*/ 1531243 w 9178278"/>
              <a:gd name="connsiteY117" fmla="*/ 451634 h 5155200"/>
              <a:gd name="connsiteX118" fmla="*/ 1505876 w 9178278"/>
              <a:gd name="connsiteY118" fmla="*/ 426267 h 5155200"/>
              <a:gd name="connsiteX119" fmla="*/ 1503607 w 9178278"/>
              <a:gd name="connsiteY119" fmla="*/ 426038 h 5155200"/>
              <a:gd name="connsiteX120" fmla="*/ 1495005 w 9178278"/>
              <a:gd name="connsiteY120" fmla="*/ 426038 h 5155200"/>
              <a:gd name="connsiteX121" fmla="*/ 1388250 w 9178278"/>
              <a:gd name="connsiteY121" fmla="*/ 426038 h 5155200"/>
              <a:gd name="connsiteX122" fmla="*/ 1390568 w 9178278"/>
              <a:gd name="connsiteY122" fmla="*/ 399259 h 5155200"/>
              <a:gd name="connsiteX123" fmla="*/ 1536617 w 9178278"/>
              <a:gd name="connsiteY123" fmla="*/ 398925 h 5155200"/>
              <a:gd name="connsiteX124" fmla="*/ 1861983 w 9178278"/>
              <a:gd name="connsiteY124" fmla="*/ 333844 h 5155200"/>
              <a:gd name="connsiteX125" fmla="*/ 1845557 w 9178278"/>
              <a:gd name="connsiteY125" fmla="*/ 522319 h 5155200"/>
              <a:gd name="connsiteX126" fmla="*/ 1838172 w 9178278"/>
              <a:gd name="connsiteY126" fmla="*/ 607059 h 5155200"/>
              <a:gd name="connsiteX127" fmla="*/ 1954004 w 9178278"/>
              <a:gd name="connsiteY127" fmla="*/ 607125 h 5155200"/>
              <a:gd name="connsiteX128" fmla="*/ 1961295 w 9178278"/>
              <a:gd name="connsiteY128" fmla="*/ 522319 h 5155200"/>
              <a:gd name="connsiteX129" fmla="*/ 2070950 w 9178278"/>
              <a:gd name="connsiteY129" fmla="*/ 522319 h 5155200"/>
              <a:gd name="connsiteX130" fmla="*/ 2070951 w 9178278"/>
              <a:gd name="connsiteY130" fmla="*/ 522319 h 5155200"/>
              <a:gd name="connsiteX131" fmla="*/ 2083864 w 9178278"/>
              <a:gd name="connsiteY131" fmla="*/ 522319 h 5155200"/>
              <a:gd name="connsiteX132" fmla="*/ 2083982 w 9178278"/>
              <a:gd name="connsiteY132" fmla="*/ 522306 h 5155200"/>
              <a:gd name="connsiteX133" fmla="*/ 2107470 w 9178278"/>
              <a:gd name="connsiteY133" fmla="*/ 502359 h 5155200"/>
              <a:gd name="connsiteX134" fmla="*/ 2108448 w 9178278"/>
              <a:gd name="connsiteY134" fmla="*/ 499097 h 5155200"/>
              <a:gd name="connsiteX135" fmla="*/ 2109435 w 9178278"/>
              <a:gd name="connsiteY135" fmla="*/ 488063 h 5155200"/>
              <a:gd name="connsiteX136" fmla="*/ 2109747 w 9178278"/>
              <a:gd name="connsiteY136" fmla="*/ 488063 h 5155200"/>
              <a:gd name="connsiteX137" fmla="*/ 2109747 w 9178278"/>
              <a:gd name="connsiteY137" fmla="*/ 484569 h 5155200"/>
              <a:gd name="connsiteX138" fmla="*/ 2116292 w 9178278"/>
              <a:gd name="connsiteY138" fmla="*/ 411417 h 5155200"/>
              <a:gd name="connsiteX139" fmla="*/ 2116549 w 9178278"/>
              <a:gd name="connsiteY139" fmla="*/ 411417 h 5155200"/>
              <a:gd name="connsiteX140" fmla="*/ 2117943 w 9178278"/>
              <a:gd name="connsiteY140" fmla="*/ 395826 h 5155200"/>
              <a:gd name="connsiteX141" fmla="*/ 2117944 w 9178278"/>
              <a:gd name="connsiteY141" fmla="*/ 395826 h 5155200"/>
              <a:gd name="connsiteX142" fmla="*/ 2119681 w 9178278"/>
              <a:gd name="connsiteY142" fmla="*/ 376401 h 5155200"/>
              <a:gd name="connsiteX143" fmla="*/ 2120622 w 9178278"/>
              <a:gd name="connsiteY143" fmla="*/ 365881 h 5155200"/>
              <a:gd name="connsiteX144" fmla="*/ 2120164 w 9178278"/>
              <a:gd name="connsiteY144" fmla="*/ 361174 h 5155200"/>
              <a:gd name="connsiteX145" fmla="*/ 2094775 w 9178278"/>
              <a:gd name="connsiteY145" fmla="*/ 334885 h 5155200"/>
              <a:gd name="connsiteX146" fmla="*/ 2092504 w 9178278"/>
              <a:gd name="connsiteY146" fmla="*/ 334647 h 5155200"/>
              <a:gd name="connsiteX147" fmla="*/ 2083895 w 9178278"/>
              <a:gd name="connsiteY147" fmla="*/ 334647 h 5155200"/>
              <a:gd name="connsiteX148" fmla="*/ 1977048 w 9178278"/>
              <a:gd name="connsiteY148" fmla="*/ 334647 h 5155200"/>
              <a:gd name="connsiteX149" fmla="*/ 1977114 w 9178278"/>
              <a:gd name="connsiteY149" fmla="*/ 333844 h 5155200"/>
              <a:gd name="connsiteX150" fmla="*/ 0 w 9178278"/>
              <a:gd name="connsiteY150" fmla="*/ 0 h 5155200"/>
              <a:gd name="connsiteX151" fmla="*/ 9178278 w 9178278"/>
              <a:gd name="connsiteY151" fmla="*/ 0 h 5155200"/>
              <a:gd name="connsiteX152" fmla="*/ 9178278 w 9178278"/>
              <a:gd name="connsiteY152" fmla="*/ 5155200 h 5155200"/>
              <a:gd name="connsiteX153" fmla="*/ 0 w 9178278"/>
              <a:gd name="connsiteY153" fmla="*/ 5155200 h 515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9178278" h="5155200">
                <a:moveTo>
                  <a:pt x="1086052" y="580853"/>
                </a:moveTo>
                <a:lnTo>
                  <a:pt x="1086032" y="581044"/>
                </a:lnTo>
                <a:lnTo>
                  <a:pt x="1086051" y="580854"/>
                </a:lnTo>
                <a:close/>
                <a:moveTo>
                  <a:pt x="1382646" y="490802"/>
                </a:moveTo>
                <a:lnTo>
                  <a:pt x="1412131" y="490802"/>
                </a:lnTo>
                <a:lnTo>
                  <a:pt x="1407403" y="541846"/>
                </a:lnTo>
                <a:lnTo>
                  <a:pt x="1378228" y="541846"/>
                </a:lnTo>
                <a:close/>
                <a:moveTo>
                  <a:pt x="1972927" y="397841"/>
                </a:moveTo>
                <a:lnTo>
                  <a:pt x="2001865" y="398166"/>
                </a:lnTo>
                <a:lnTo>
                  <a:pt x="1995037" y="466448"/>
                </a:lnTo>
                <a:lnTo>
                  <a:pt x="1966099" y="466448"/>
                </a:lnTo>
                <a:close/>
                <a:moveTo>
                  <a:pt x="1127891" y="360973"/>
                </a:moveTo>
                <a:lnTo>
                  <a:pt x="1127658" y="363274"/>
                </a:lnTo>
                <a:lnTo>
                  <a:pt x="1127658" y="363273"/>
                </a:lnTo>
                <a:close/>
                <a:moveTo>
                  <a:pt x="990005" y="334495"/>
                </a:moveTo>
                <a:lnTo>
                  <a:pt x="965548" y="607125"/>
                </a:lnTo>
                <a:lnTo>
                  <a:pt x="1000408" y="607125"/>
                </a:lnTo>
                <a:lnTo>
                  <a:pt x="1054090" y="607125"/>
                </a:lnTo>
                <a:lnTo>
                  <a:pt x="1057959" y="607125"/>
                </a:lnTo>
                <a:lnTo>
                  <a:pt x="1057959" y="606735"/>
                </a:lnTo>
                <a:lnTo>
                  <a:pt x="1060660" y="606463"/>
                </a:lnTo>
                <a:cubicBezTo>
                  <a:pt x="1067026" y="605161"/>
                  <a:pt x="1072716" y="602002"/>
                  <a:pt x="1077142" y="597578"/>
                </a:cubicBezTo>
                <a:lnTo>
                  <a:pt x="1083064" y="588792"/>
                </a:lnTo>
                <a:lnTo>
                  <a:pt x="1084128" y="587215"/>
                </a:lnTo>
                <a:cubicBezTo>
                  <a:pt x="1084952" y="585265"/>
                  <a:pt x="1085593" y="583219"/>
                  <a:pt x="1086027" y="581097"/>
                </a:cubicBezTo>
                <a:lnTo>
                  <a:pt x="1086032" y="581044"/>
                </a:lnTo>
                <a:lnTo>
                  <a:pt x="1123178" y="484063"/>
                </a:lnTo>
                <a:lnTo>
                  <a:pt x="1110813" y="607125"/>
                </a:lnTo>
                <a:lnTo>
                  <a:pt x="1227144" y="607125"/>
                </a:lnTo>
                <a:lnTo>
                  <a:pt x="1251602" y="334495"/>
                </a:lnTo>
                <a:lnTo>
                  <a:pt x="1219429" y="334495"/>
                </a:lnTo>
                <a:lnTo>
                  <a:pt x="1159872" y="334495"/>
                </a:lnTo>
                <a:lnTo>
                  <a:pt x="1155829" y="334495"/>
                </a:lnTo>
                <a:lnTo>
                  <a:pt x="1155829" y="334902"/>
                </a:lnTo>
                <a:lnTo>
                  <a:pt x="1153302" y="335157"/>
                </a:lnTo>
                <a:cubicBezTo>
                  <a:pt x="1146936" y="336460"/>
                  <a:pt x="1141246" y="339619"/>
                  <a:pt x="1136822" y="344043"/>
                </a:cubicBezTo>
                <a:lnTo>
                  <a:pt x="1130193" y="353874"/>
                </a:lnTo>
                <a:lnTo>
                  <a:pt x="1129836" y="354404"/>
                </a:lnTo>
                <a:cubicBezTo>
                  <a:pt x="1129010" y="356355"/>
                  <a:pt x="1128370" y="358402"/>
                  <a:pt x="1127936" y="360524"/>
                </a:cubicBezTo>
                <a:lnTo>
                  <a:pt x="1127891" y="360973"/>
                </a:lnTo>
                <a:lnTo>
                  <a:pt x="1091078" y="474465"/>
                </a:lnTo>
                <a:lnTo>
                  <a:pt x="1105863" y="334495"/>
                </a:lnTo>
                <a:close/>
                <a:moveTo>
                  <a:pt x="728516" y="334495"/>
                </a:moveTo>
                <a:cubicBezTo>
                  <a:pt x="715013" y="334495"/>
                  <a:pt x="703428" y="342705"/>
                  <a:pt x="698479" y="354404"/>
                </a:cubicBezTo>
                <a:lnTo>
                  <a:pt x="697048" y="359014"/>
                </a:lnTo>
                <a:lnTo>
                  <a:pt x="696116" y="369071"/>
                </a:lnTo>
                <a:cubicBezTo>
                  <a:pt x="696116" y="369072"/>
                  <a:pt x="696117" y="369072"/>
                  <a:pt x="696117" y="369072"/>
                </a:cubicBezTo>
                <a:lnTo>
                  <a:pt x="677096" y="574419"/>
                </a:lnTo>
                <a:lnTo>
                  <a:pt x="677022" y="575209"/>
                </a:lnTo>
                <a:lnTo>
                  <a:pt x="677681" y="581746"/>
                </a:lnTo>
                <a:cubicBezTo>
                  <a:pt x="680287" y="594479"/>
                  <a:pt x="690315" y="604508"/>
                  <a:pt x="703048" y="607113"/>
                </a:cubicBezTo>
                <a:lnTo>
                  <a:pt x="703166" y="607125"/>
                </a:lnTo>
                <a:lnTo>
                  <a:pt x="716069" y="607125"/>
                </a:lnTo>
                <a:lnTo>
                  <a:pt x="900515" y="607125"/>
                </a:lnTo>
                <a:lnTo>
                  <a:pt x="900516" y="607125"/>
                </a:lnTo>
                <a:lnTo>
                  <a:pt x="913418" y="607125"/>
                </a:lnTo>
                <a:lnTo>
                  <a:pt x="913537" y="607113"/>
                </a:lnTo>
                <a:cubicBezTo>
                  <a:pt x="924147" y="604942"/>
                  <a:pt x="932879" y="597616"/>
                  <a:pt x="937003" y="587866"/>
                </a:cubicBezTo>
                <a:lnTo>
                  <a:pt x="937980" y="584718"/>
                </a:lnTo>
                <a:lnTo>
                  <a:pt x="938967" y="574071"/>
                </a:lnTo>
                <a:lnTo>
                  <a:pt x="939279" y="574071"/>
                </a:lnTo>
                <a:lnTo>
                  <a:pt x="939279" y="570700"/>
                </a:lnTo>
                <a:lnTo>
                  <a:pt x="947249" y="484655"/>
                </a:lnTo>
                <a:lnTo>
                  <a:pt x="831145" y="484655"/>
                </a:lnTo>
                <a:lnTo>
                  <a:pt x="825847" y="541846"/>
                </a:lnTo>
                <a:lnTo>
                  <a:pt x="795804" y="541846"/>
                </a:lnTo>
                <a:lnTo>
                  <a:pt x="809012" y="399259"/>
                </a:lnTo>
                <a:lnTo>
                  <a:pt x="839055" y="399259"/>
                </a:lnTo>
                <a:lnTo>
                  <a:pt x="834187" y="451816"/>
                </a:lnTo>
                <a:lnTo>
                  <a:pt x="950291" y="451816"/>
                </a:lnTo>
                <a:lnTo>
                  <a:pt x="957427" y="374784"/>
                </a:lnTo>
                <a:lnTo>
                  <a:pt x="958367" y="364632"/>
                </a:lnTo>
                <a:lnTo>
                  <a:pt x="957910" y="360090"/>
                </a:lnTo>
                <a:cubicBezTo>
                  <a:pt x="955304" y="347358"/>
                  <a:pt x="945275" y="337329"/>
                  <a:pt x="932543" y="334723"/>
                </a:cubicBezTo>
                <a:lnTo>
                  <a:pt x="930273" y="334495"/>
                </a:lnTo>
                <a:lnTo>
                  <a:pt x="921672" y="334495"/>
                </a:lnTo>
                <a:close/>
                <a:moveTo>
                  <a:pt x="1832433" y="334465"/>
                </a:moveTo>
                <a:lnTo>
                  <a:pt x="1717280" y="334479"/>
                </a:lnTo>
                <a:lnTo>
                  <a:pt x="1705907" y="459074"/>
                </a:lnTo>
                <a:lnTo>
                  <a:pt x="1676943" y="458641"/>
                </a:lnTo>
                <a:lnTo>
                  <a:pt x="1687796" y="334481"/>
                </a:lnTo>
                <a:lnTo>
                  <a:pt x="1571121" y="334495"/>
                </a:lnTo>
                <a:lnTo>
                  <a:pt x="1558631" y="475763"/>
                </a:lnTo>
                <a:lnTo>
                  <a:pt x="1557778" y="485402"/>
                </a:lnTo>
                <a:lnTo>
                  <a:pt x="1558253" y="490117"/>
                </a:lnTo>
                <a:cubicBezTo>
                  <a:pt x="1560425" y="500727"/>
                  <a:pt x="1567751" y="509460"/>
                  <a:pt x="1577501" y="513584"/>
                </a:cubicBezTo>
                <a:lnTo>
                  <a:pt x="1582950" y="515276"/>
                </a:lnTo>
                <a:lnTo>
                  <a:pt x="1597335" y="515305"/>
                </a:lnTo>
                <a:lnTo>
                  <a:pt x="1700380" y="515513"/>
                </a:lnTo>
                <a:lnTo>
                  <a:pt x="1698252" y="542712"/>
                </a:lnTo>
                <a:lnTo>
                  <a:pt x="1552726" y="542532"/>
                </a:lnTo>
                <a:lnTo>
                  <a:pt x="1547015" y="607125"/>
                </a:lnTo>
                <a:lnTo>
                  <a:pt x="1772487" y="607125"/>
                </a:lnTo>
                <a:lnTo>
                  <a:pt x="1772488" y="607125"/>
                </a:lnTo>
                <a:lnTo>
                  <a:pt x="1785390" y="607125"/>
                </a:lnTo>
                <a:lnTo>
                  <a:pt x="1785508" y="607113"/>
                </a:lnTo>
                <a:cubicBezTo>
                  <a:pt x="1796119" y="604942"/>
                  <a:pt x="1804851" y="597616"/>
                  <a:pt x="1808976" y="587866"/>
                </a:cubicBezTo>
                <a:lnTo>
                  <a:pt x="1809952" y="584718"/>
                </a:lnTo>
                <a:lnTo>
                  <a:pt x="1810938" y="574071"/>
                </a:lnTo>
                <a:lnTo>
                  <a:pt x="1811251" y="574071"/>
                </a:lnTo>
                <a:lnTo>
                  <a:pt x="1811251" y="570700"/>
                </a:lnTo>
                <a:close/>
                <a:moveTo>
                  <a:pt x="1542018" y="334465"/>
                </a:moveTo>
                <a:lnTo>
                  <a:pt x="1280706" y="334495"/>
                </a:lnTo>
                <a:lnTo>
                  <a:pt x="1256600" y="607125"/>
                </a:lnTo>
                <a:lnTo>
                  <a:pt x="1482071" y="607125"/>
                </a:lnTo>
                <a:lnTo>
                  <a:pt x="1482072" y="607125"/>
                </a:lnTo>
                <a:lnTo>
                  <a:pt x="1494975" y="607125"/>
                </a:lnTo>
                <a:lnTo>
                  <a:pt x="1495093" y="607113"/>
                </a:lnTo>
                <a:cubicBezTo>
                  <a:pt x="1505703" y="604942"/>
                  <a:pt x="1514436" y="597616"/>
                  <a:pt x="1518560" y="587866"/>
                </a:cubicBezTo>
                <a:lnTo>
                  <a:pt x="1519537" y="584718"/>
                </a:lnTo>
                <a:lnTo>
                  <a:pt x="1520523" y="574071"/>
                </a:lnTo>
                <a:lnTo>
                  <a:pt x="1520835" y="574071"/>
                </a:lnTo>
                <a:lnTo>
                  <a:pt x="1520835" y="570700"/>
                </a:lnTo>
                <a:lnTo>
                  <a:pt x="1527374" y="500115"/>
                </a:lnTo>
                <a:lnTo>
                  <a:pt x="1527630" y="500115"/>
                </a:lnTo>
                <a:lnTo>
                  <a:pt x="1530760" y="466328"/>
                </a:lnTo>
                <a:lnTo>
                  <a:pt x="1531701" y="456176"/>
                </a:lnTo>
                <a:lnTo>
                  <a:pt x="1531243" y="451634"/>
                </a:lnTo>
                <a:cubicBezTo>
                  <a:pt x="1528637" y="438901"/>
                  <a:pt x="1518608" y="428873"/>
                  <a:pt x="1505876" y="426267"/>
                </a:cubicBezTo>
                <a:lnTo>
                  <a:pt x="1503607" y="426038"/>
                </a:lnTo>
                <a:lnTo>
                  <a:pt x="1495005" y="426038"/>
                </a:lnTo>
                <a:lnTo>
                  <a:pt x="1388250" y="426038"/>
                </a:lnTo>
                <a:lnTo>
                  <a:pt x="1390568" y="399259"/>
                </a:lnTo>
                <a:lnTo>
                  <a:pt x="1536617" y="398925"/>
                </a:lnTo>
                <a:close/>
                <a:moveTo>
                  <a:pt x="1861983" y="333844"/>
                </a:moveTo>
                <a:lnTo>
                  <a:pt x="1845557" y="522319"/>
                </a:lnTo>
                <a:lnTo>
                  <a:pt x="1838172" y="607059"/>
                </a:lnTo>
                <a:lnTo>
                  <a:pt x="1954004" y="607125"/>
                </a:lnTo>
                <a:lnTo>
                  <a:pt x="1961295" y="522319"/>
                </a:lnTo>
                <a:lnTo>
                  <a:pt x="2070950" y="522319"/>
                </a:lnTo>
                <a:lnTo>
                  <a:pt x="2070951" y="522319"/>
                </a:lnTo>
                <a:lnTo>
                  <a:pt x="2083864" y="522319"/>
                </a:lnTo>
                <a:lnTo>
                  <a:pt x="2083982" y="522306"/>
                </a:lnTo>
                <a:cubicBezTo>
                  <a:pt x="2094602" y="520056"/>
                  <a:pt x="2103343" y="512464"/>
                  <a:pt x="2107470" y="502359"/>
                </a:cubicBezTo>
                <a:lnTo>
                  <a:pt x="2108448" y="499097"/>
                </a:lnTo>
                <a:lnTo>
                  <a:pt x="2109435" y="488063"/>
                </a:lnTo>
                <a:lnTo>
                  <a:pt x="2109747" y="488063"/>
                </a:lnTo>
                <a:lnTo>
                  <a:pt x="2109747" y="484569"/>
                </a:lnTo>
                <a:lnTo>
                  <a:pt x="2116292" y="411417"/>
                </a:lnTo>
                <a:lnTo>
                  <a:pt x="2116549" y="411417"/>
                </a:lnTo>
                <a:lnTo>
                  <a:pt x="2117943" y="395826"/>
                </a:lnTo>
                <a:lnTo>
                  <a:pt x="2117944" y="395826"/>
                </a:lnTo>
                <a:lnTo>
                  <a:pt x="2119681" y="376401"/>
                </a:lnTo>
                <a:lnTo>
                  <a:pt x="2120622" y="365881"/>
                </a:lnTo>
                <a:lnTo>
                  <a:pt x="2120164" y="361174"/>
                </a:lnTo>
                <a:cubicBezTo>
                  <a:pt x="2117556" y="347978"/>
                  <a:pt x="2107519" y="337585"/>
                  <a:pt x="2094775" y="334885"/>
                </a:cubicBezTo>
                <a:lnTo>
                  <a:pt x="2092504" y="334647"/>
                </a:lnTo>
                <a:lnTo>
                  <a:pt x="2083895" y="334647"/>
                </a:lnTo>
                <a:lnTo>
                  <a:pt x="1977048" y="334647"/>
                </a:lnTo>
                <a:lnTo>
                  <a:pt x="1977114" y="333844"/>
                </a:lnTo>
                <a:close/>
                <a:moveTo>
                  <a:pt x="0" y="0"/>
                </a:moveTo>
                <a:lnTo>
                  <a:pt x="9178278" y="0"/>
                </a:lnTo>
                <a:lnTo>
                  <a:pt x="9178278" y="5155200"/>
                </a:lnTo>
                <a:lnTo>
                  <a:pt x="0" y="5155200"/>
                </a:lnTo>
                <a:close/>
              </a:path>
            </a:pathLst>
          </a:cu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F2EF2EF-6A87-8367-975C-4772EEB4EF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884846"/>
            <a:ext cx="4182208" cy="1682083"/>
          </a:xfrm>
        </p:spPr>
        <p:txBody>
          <a:bodyPr vert="horz"/>
          <a:lstStyle/>
          <a:p>
            <a:r>
              <a:rPr lang="ru-RU" sz="2800" dirty="0">
                <a:solidFill>
                  <a:srgbClr val="003D4C"/>
                </a:solidFill>
              </a:rPr>
              <a:t>Бесшовная профессиональная подготовка молодых кадров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3B0F1AB-76D9-5A5B-D7DA-31DA44E2EC5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5638" y="2679211"/>
            <a:ext cx="4174270" cy="369332"/>
          </a:xfrm>
        </p:spPr>
        <p:txBody>
          <a:bodyPr/>
          <a:lstStyle/>
          <a:p>
            <a:r>
              <a:rPr lang="ru-RU" sz="1200" dirty="0">
                <a:solidFill>
                  <a:srgbClr val="003D4C"/>
                </a:solidFill>
                <a:ea typeface="Arial Regular" pitchFamily="34" charset="-122"/>
              </a:rPr>
              <a:t>НОМИНАЦИЯ: «Двойное преимущество: эффективные модели взаимодействия образования и бизнеса</a:t>
            </a:r>
            <a:r>
              <a:rPr lang="ru-RU" sz="1200" dirty="0" smtClean="0">
                <a:solidFill>
                  <a:srgbClr val="003D4C"/>
                </a:solidFill>
                <a:ea typeface="Arial Regular" pitchFamily="34" charset="-122"/>
              </a:rPr>
              <a:t>»</a:t>
            </a:r>
            <a:endParaRPr lang="ru-RU" sz="1600" dirty="0">
              <a:solidFill>
                <a:srgbClr val="003D4C"/>
              </a:solidFill>
            </a:endParaRP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2FC87E74-8999-72D3-0C85-CEA84547724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51241" y="3606949"/>
            <a:ext cx="3920759" cy="384721"/>
          </a:xfrm>
        </p:spPr>
        <p:txBody>
          <a:bodyPr/>
          <a:lstStyle/>
          <a:p>
            <a:pPr defTabSz="1219170">
              <a:defRPr/>
            </a:pPr>
            <a:r>
              <a:rPr lang="ru-RU" sz="1200" kern="0" dirty="0">
                <a:latin typeface="+mn-lt"/>
                <a:ea typeface="Roboto" panose="02000000000000000000" pitchFamily="2" charset="0"/>
              </a:rPr>
              <a:t>Наименование организации: АО «ПОЛИЭФ»</a:t>
            </a:r>
          </a:p>
          <a:p>
            <a:pPr defTabSz="1219170">
              <a:defRPr/>
            </a:pPr>
            <a:r>
              <a:rPr lang="ru-RU" sz="1200" kern="0" dirty="0">
                <a:latin typeface="+mn-lt"/>
                <a:ea typeface="Roboto" panose="02000000000000000000" pitchFamily="2" charset="0"/>
              </a:rPr>
              <a:t>Регион реализации: Республика Башкортостан</a:t>
            </a:r>
          </a:p>
          <a:p>
            <a:endParaRPr lang="ru-RU" sz="1200" dirty="0" smtClean="0">
              <a:solidFill>
                <a:schemeClr val="tx1"/>
              </a:solidFill>
              <a:latin typeface="+mn-lt"/>
            </a:endParaRPr>
          </a:p>
          <a:p>
            <a:endParaRPr lang="ru-RU" sz="12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DBA5434-4158-FCDC-033B-CD9E66E4E175}"/>
              </a:ext>
            </a:extLst>
          </p:cNvPr>
          <p:cNvSpPr txBox="1"/>
          <p:nvPr/>
        </p:nvSpPr>
        <p:spPr>
          <a:xfrm>
            <a:off x="7592786" y="-963386"/>
            <a:ext cx="6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endParaRPr lang="ru-RU" sz="1400" dirty="0" err="1">
              <a:solidFill>
                <a:schemeClr val="tx2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5B8E8A-1E34-2112-2A0F-779C5E41989E}"/>
              </a:ext>
            </a:extLst>
          </p:cNvPr>
          <p:cNvSpPr txBox="1"/>
          <p:nvPr/>
        </p:nvSpPr>
        <p:spPr>
          <a:xfrm>
            <a:off x="807258" y="4373300"/>
            <a:ext cx="27321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38622"/>
            <a:r>
              <a:rPr lang="ru-RU" sz="1200" dirty="0" smtClean="0"/>
              <a:t>Всероссийский конкурс лучших практик трудоустройства молодежи</a:t>
            </a:r>
            <a:endParaRPr lang="ru-RU" sz="12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056914F-BA55-89E6-1F0F-F762926B9B16}"/>
              </a:ext>
            </a:extLst>
          </p:cNvPr>
          <p:cNvSpPr txBox="1"/>
          <p:nvPr/>
        </p:nvSpPr>
        <p:spPr>
          <a:xfrm rot="16200000">
            <a:off x="359519" y="4481898"/>
            <a:ext cx="83797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038622"/>
            <a:r>
              <a:rPr lang="ru-RU" sz="1100" b="1" spc="200" dirty="0">
                <a:solidFill>
                  <a:srgbClr val="F05A28"/>
                </a:solidFill>
                <a:latin typeface="Roboto Flex Normal Light"/>
              </a:rPr>
              <a:t>2025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0" b="97778" l="0" r="100000">
                        <a14:foregroundMark x1="27237" y1="17778" x2="27237" y2="17778"/>
                        <a14:foregroundMark x1="29183" y1="31111" x2="29183" y2="31111"/>
                        <a14:foregroundMark x1="37354" y1="22222" x2="37354" y2="22222"/>
                        <a14:foregroundMark x1="21012" y1="18889" x2="21012" y2="18889"/>
                        <a14:foregroundMark x1="19066" y1="15556" x2="19066" y2="15556"/>
                        <a14:foregroundMark x1="39300" y1="15556" x2="39300" y2="15556"/>
                        <a14:foregroundMark x1="33074" y1="41111" x2="33074" y2="41111"/>
                        <a14:foregroundMark x1="25292" y1="41111" x2="25292" y2="41111"/>
                        <a14:foregroundMark x1="22568" y1="47778" x2="22568" y2="47778"/>
                        <a14:foregroundMark x1="22179" y1="57778" x2="22179" y2="57778"/>
                        <a14:foregroundMark x1="20623" y1="67778" x2="20623" y2="67778"/>
                        <a14:foregroundMark x1="24903" y1="61111" x2="24903" y2="61111"/>
                        <a14:foregroundMark x1="29183" y1="45556" x2="29183" y2="45556"/>
                        <a14:foregroundMark x1="29572" y1="57778" x2="29572" y2="57778"/>
                        <a14:foregroundMark x1="35409" y1="52222" x2="35409" y2="52222"/>
                        <a14:foregroundMark x1="32685" y1="62222" x2="32685" y2="62222"/>
                        <a14:foregroundMark x1="26848" y1="66667" x2="26848" y2="66667"/>
                        <a14:foregroundMark x1="24125" y1="65556" x2="24125" y2="65556"/>
                        <a14:foregroundMark x1="35409" y1="71111" x2="35409" y2="71111"/>
                        <a14:foregroundMark x1="55253" y1="35556" x2="55253" y2="35556"/>
                        <a14:foregroundMark x1="62646" y1="34444" x2="62646" y2="34444"/>
                        <a14:foregroundMark x1="66537" y1="35556" x2="66537" y2="35556"/>
                        <a14:foregroundMark x1="71984" y1="31111" x2="71984" y2="31111"/>
                        <a14:foregroundMark x1="75486" y1="31111" x2="75486" y2="31111"/>
                        <a14:foregroundMark x1="80934" y1="32222" x2="80934" y2="32222"/>
                        <a14:foregroundMark x1="85992" y1="32222" x2="85992" y2="32222"/>
                        <a14:foregroundMark x1="78599" y1="56667" x2="78599" y2="56667"/>
                        <a14:foregroundMark x1="71206" y1="55556" x2="71206" y2="55556"/>
                        <a14:foregroundMark x1="65759" y1="54444" x2="65759" y2="54444"/>
                        <a14:foregroundMark x1="61479" y1="56667" x2="61479" y2="56667"/>
                        <a14:foregroundMark x1="59922" y1="54444" x2="59922" y2="54444"/>
                        <a14:foregroundMark x1="58755" y1="56667" x2="58755" y2="56667"/>
                        <a14:foregroundMark x1="76654" y1="55556" x2="76654" y2="55556"/>
                        <a14:backgroundMark x1="59533" y1="58889" x2="59533" y2="58889"/>
                        <a14:backgroundMark x1="54475" y1="56667" x2="54475" y2="56667"/>
                        <a14:backgroundMark x1="87160" y1="36667" x2="87160" y2="36667"/>
                        <a14:backgroundMark x1="35019" y1="21111" x2="35019" y2="2111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7359" y="4407286"/>
            <a:ext cx="1173159" cy="41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162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BE0DA7-FB0A-2348-2CD0-CA5D69FEB3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оугольник 20"/>
          <p:cNvSpPr/>
          <p:nvPr/>
        </p:nvSpPr>
        <p:spPr bwMode="auto">
          <a:xfrm>
            <a:off x="0" y="0"/>
            <a:ext cx="9143999" cy="5143499"/>
          </a:xfrm>
          <a:prstGeom prst="rect">
            <a:avLst/>
          </a:prstGeom>
          <a:solidFill>
            <a:srgbClr val="EFF5F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 bwMode="auto">
          <a:xfrm>
            <a:off x="89590" y="8690663"/>
            <a:ext cx="728275" cy="501164"/>
          </a:xfrm>
          <a:prstGeom prst="roundRect">
            <a:avLst/>
          </a:prstGeom>
          <a:solidFill>
            <a:srgbClr val="EEF4F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EDB66AA3-0E08-1241-1E8A-E7DB02766C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7699" y="4757635"/>
            <a:ext cx="6118861" cy="190393"/>
          </a:xfrm>
        </p:spPr>
        <p:txBody>
          <a:bodyPr/>
          <a:lstStyle/>
          <a:p>
            <a:r>
              <a:rPr lang="en-US" dirty="0" smtClean="0">
                <a:hlinkClick r:id="rId2"/>
              </a:rPr>
              <a:t>https://www.kommersant.ru/doc/8024126?erid=F7NfYUJCUneTSUKLrphr&amp;ysclid=mfge3f971y367279487</a:t>
            </a:r>
            <a:endParaRPr lang="ru-RU" dirty="0" smtClean="0"/>
          </a:p>
          <a:p>
            <a:r>
              <a:rPr lang="en-US" dirty="0">
                <a:hlinkClick r:id="rId3"/>
              </a:rPr>
              <a:t>https://ufa.aif.ru/society/details/-</a:t>
            </a:r>
            <a:r>
              <a:rPr lang="en-US" dirty="0" smtClean="0">
                <a:hlinkClick r:id="rId3"/>
              </a:rPr>
              <a:t>sila-slova-literaturnyy-festival-v-bashkirii-sobral-2000-lyubiteley-knig</a:t>
            </a:r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6DCD07BE-9E96-EE55-2D25-931A1B488C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25" name="Текст 4">
            <a:extLst>
              <a:ext uri="{FF2B5EF4-FFF2-40B4-BE49-F238E27FC236}">
                <a16:creationId xmlns:a16="http://schemas.microsoft.com/office/drawing/2014/main" id="{04C556F3-85A6-A3BE-68EC-637E4D2B00A7}"/>
              </a:ext>
            </a:extLst>
          </p:cNvPr>
          <p:cNvSpPr txBox="1">
            <a:spLocks/>
          </p:cNvSpPr>
          <p:nvPr/>
        </p:nvSpPr>
        <p:spPr>
          <a:xfrm>
            <a:off x="646042" y="1905414"/>
            <a:ext cx="2268000" cy="420343"/>
          </a:xfrm>
          <a:prstGeom prst="rect">
            <a:avLst/>
          </a:prstGeom>
        </p:spPr>
        <p:txBody>
          <a:bodyPr lIns="0"/>
          <a:lstStyle>
            <a:lvl1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  <a:defRPr lang="ru-RU" sz="1875" b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  <a:lvl2pPr marL="0" indent="0" algn="l" defTabSz="778986" rtl="0" eaLnBrk="1" fontAlgn="base" latinLnBrk="0" hangingPunct="1">
              <a:lnSpc>
                <a:spcPts val="148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38" b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2pPr>
            <a:lvl3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125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3pPr>
            <a:lvl4pPr marL="0" indent="0" algn="l" defTabSz="778986" rtl="0" eaLnBrk="1" fontAlgn="base" latinLnBrk="0" hangingPunct="1">
              <a:lnSpc>
                <a:spcPts val="112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4pPr>
            <a:lvl5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875" kern="1200" dirty="0">
                <a:solidFill>
                  <a:srgbClr val="003D4C">
                    <a:alpha val="100000"/>
                  </a:srgbClr>
                </a:solidFill>
                <a:latin typeface="Roboto Regular" pitchFamily="34" charset="0"/>
                <a:ea typeface="Roboto Regular" pitchFamily="34" charset="-122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lnSpc>
                <a:spcPct val="100000"/>
              </a:lnSpc>
              <a:buClr>
                <a:schemeClr val="tx2"/>
              </a:buClr>
            </a:pPr>
            <a:endParaRPr lang="ru-RU" sz="800" dirty="0">
              <a:solidFill>
                <a:schemeClr val="bg1"/>
              </a:solidFill>
              <a:ea typeface="Arial Regular" pitchFamily="34" charset="-122"/>
            </a:endParaRPr>
          </a:p>
        </p:txBody>
      </p:sp>
      <p:sp>
        <p:nvSpPr>
          <p:cNvPr id="27" name="Текст 4">
            <a:extLst>
              <a:ext uri="{FF2B5EF4-FFF2-40B4-BE49-F238E27FC236}">
                <a16:creationId xmlns:a16="http://schemas.microsoft.com/office/drawing/2014/main" id="{05BA17F8-4740-39F9-9085-8C7ED53E6849}"/>
              </a:ext>
            </a:extLst>
          </p:cNvPr>
          <p:cNvSpPr txBox="1">
            <a:spLocks/>
          </p:cNvSpPr>
          <p:nvPr/>
        </p:nvSpPr>
        <p:spPr>
          <a:xfrm>
            <a:off x="3489581" y="1905414"/>
            <a:ext cx="2268000" cy="420343"/>
          </a:xfrm>
          <a:prstGeom prst="rect">
            <a:avLst/>
          </a:prstGeom>
        </p:spPr>
        <p:txBody>
          <a:bodyPr lIns="0"/>
          <a:lstStyle>
            <a:lvl1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  <a:defRPr lang="ru-RU" sz="1875" b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  <a:lvl2pPr marL="0" indent="0" algn="l" defTabSz="778986" rtl="0" eaLnBrk="1" fontAlgn="base" latinLnBrk="0" hangingPunct="1">
              <a:lnSpc>
                <a:spcPts val="148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38" b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2pPr>
            <a:lvl3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125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3pPr>
            <a:lvl4pPr marL="0" indent="0" algn="l" defTabSz="778986" rtl="0" eaLnBrk="1" fontAlgn="base" latinLnBrk="0" hangingPunct="1">
              <a:lnSpc>
                <a:spcPts val="112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4pPr>
            <a:lvl5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875" kern="1200" dirty="0">
                <a:solidFill>
                  <a:srgbClr val="003D4C">
                    <a:alpha val="100000"/>
                  </a:srgbClr>
                </a:solidFill>
                <a:latin typeface="Roboto Regular" pitchFamily="34" charset="0"/>
                <a:ea typeface="Roboto Regular" pitchFamily="34" charset="-122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lnSpc>
                <a:spcPct val="100000"/>
              </a:lnSpc>
              <a:buClr>
                <a:schemeClr val="tx2"/>
              </a:buClr>
            </a:pPr>
            <a:endParaRPr lang="ru-RU" sz="800" dirty="0">
              <a:solidFill>
                <a:srgbClr val="003D4C"/>
              </a:solidFill>
              <a:ea typeface="Arial Regular" pitchFamily="34" charset="-122"/>
            </a:endParaRPr>
          </a:p>
        </p:txBody>
      </p:sp>
      <p:sp>
        <p:nvSpPr>
          <p:cNvPr id="15" name="Заголовок 4">
            <a:extLst>
              <a:ext uri="{FF2B5EF4-FFF2-40B4-BE49-F238E27FC236}">
                <a16:creationId xmlns:a16="http://schemas.microsoft.com/office/drawing/2014/main" id="{0594AA9B-7564-9099-7677-5F2E2B586A78}"/>
              </a:ext>
            </a:extLst>
          </p:cNvPr>
          <p:cNvSpPr txBox="1">
            <a:spLocks/>
          </p:cNvSpPr>
          <p:nvPr/>
        </p:nvSpPr>
        <p:spPr>
          <a:xfrm>
            <a:off x="482964" y="286951"/>
            <a:ext cx="7848600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dirty="0"/>
              <a:t>Фестиваль «Сила слова» — сердце литературной жизни Благовещенска</a:t>
            </a:r>
          </a:p>
        </p:txBody>
      </p:sp>
      <p:sp>
        <p:nvSpPr>
          <p:cNvPr id="29" name="Скругленный прямоугольник 28"/>
          <p:cNvSpPr/>
          <p:nvPr/>
        </p:nvSpPr>
        <p:spPr bwMode="auto">
          <a:xfrm>
            <a:off x="4043681" y="1227252"/>
            <a:ext cx="4940300" cy="3291740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285750" indent="-285750"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ru-RU" sz="1400" dirty="0" err="1" smtClean="0">
                <a:solidFill>
                  <a:schemeClr val="bg1"/>
                </a:solidFill>
              </a:rPr>
              <a:t>Мультиформатный</a:t>
            </a:r>
            <a:r>
              <a:rPr lang="ru-RU" sz="1400" dirty="0" smtClean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праздник для всей семьи — от малышей до бабушек и дедушек</a:t>
            </a:r>
          </a:p>
          <a:p>
            <a:pPr marL="285750" indent="-285750"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bg1"/>
                </a:solidFill>
              </a:rPr>
              <a:t>Литература </a:t>
            </a:r>
            <a:r>
              <a:rPr lang="ru-RU" sz="1400" dirty="0">
                <a:solidFill>
                  <a:schemeClr val="bg1"/>
                </a:solidFill>
              </a:rPr>
              <a:t>в новом измерении: детская и взрослая — живые встречи с авторами-звездами</a:t>
            </a:r>
          </a:p>
          <a:p>
            <a:pPr marL="285750" indent="-285750"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bg1"/>
                </a:solidFill>
              </a:rPr>
              <a:t>Театр </a:t>
            </a:r>
            <a:r>
              <a:rPr lang="ru-RU" sz="1400" dirty="0">
                <a:solidFill>
                  <a:schemeClr val="bg1"/>
                </a:solidFill>
              </a:rPr>
              <a:t>+ кино: игровые и документальные премьеры, спектакли по книгам</a:t>
            </a:r>
          </a:p>
          <a:p>
            <a:pPr marL="285750" indent="-285750"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bg1"/>
                </a:solidFill>
              </a:rPr>
              <a:t>Искусство </a:t>
            </a:r>
            <a:r>
              <a:rPr lang="ru-RU" sz="1400" dirty="0">
                <a:solidFill>
                  <a:schemeClr val="bg1"/>
                </a:solidFill>
              </a:rPr>
              <a:t>на стыке слов и образов: иллюстрации, инсталляции, арт-объекты</a:t>
            </a:r>
          </a:p>
          <a:p>
            <a:pPr marL="285750" indent="-285750"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bg1"/>
                </a:solidFill>
              </a:rPr>
              <a:t>Музыка </a:t>
            </a:r>
            <a:r>
              <a:rPr lang="ru-RU" sz="1400" dirty="0">
                <a:solidFill>
                  <a:schemeClr val="bg1"/>
                </a:solidFill>
              </a:rPr>
              <a:t>и актёрское мастерство: чтение вслух — как концерт, где каждое слово — нота</a:t>
            </a:r>
          </a:p>
          <a:p>
            <a:pPr marL="285750" indent="-285750"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bg1"/>
                </a:solidFill>
              </a:rPr>
              <a:t>Главное </a:t>
            </a:r>
            <a:r>
              <a:rPr lang="ru-RU" sz="1400" dirty="0">
                <a:solidFill>
                  <a:schemeClr val="bg1"/>
                </a:solidFill>
              </a:rPr>
              <a:t>— общение: не просто выступления, а диалоги, игры, творческие мастерские</a:t>
            </a:r>
          </a:p>
          <a:p>
            <a:pPr lvl="0" algn="just"/>
            <a:endParaRPr kumimoji="0" lang="ru-RU" sz="14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4"/>
          <a:srcRect t="13594" b="13833"/>
          <a:stretch/>
        </p:blipFill>
        <p:spPr>
          <a:xfrm>
            <a:off x="416967" y="1227252"/>
            <a:ext cx="3338943" cy="161544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39268" name="Picture 4" descr="https://static.tildacdn.com/tild3066-3732-4561-a263-653861356261/579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51" b="23178"/>
          <a:stretch/>
        </p:blipFill>
        <p:spPr bwMode="auto">
          <a:xfrm>
            <a:off x="402537" y="2955235"/>
            <a:ext cx="3353373" cy="1524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9974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Скругленный прямоугольник 10"/>
          <p:cNvSpPr/>
          <p:nvPr/>
        </p:nvSpPr>
        <p:spPr bwMode="auto">
          <a:xfrm>
            <a:off x="457716" y="2919416"/>
            <a:ext cx="2922534" cy="1581464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BF19B70-CD72-BC8C-155F-93D9DED76255}"/>
              </a:ext>
            </a:extLst>
          </p:cNvPr>
          <p:cNvSpPr txBox="1"/>
          <p:nvPr/>
        </p:nvSpPr>
        <p:spPr>
          <a:xfrm>
            <a:off x="3982088" y="1259954"/>
            <a:ext cx="167971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2800" dirty="0">
                <a:solidFill>
                  <a:schemeClr val="bg2"/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rPr>
              <a:t>б</a:t>
            </a:r>
            <a:r>
              <a:rPr lang="ru-RU" sz="2800" kern="1200" dirty="0" smtClean="0">
                <a:solidFill>
                  <a:schemeClr val="bg2"/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rPr>
              <a:t>олее 50</a:t>
            </a:r>
            <a:endParaRPr lang="ru-RU" sz="2800" kern="1200" dirty="0">
              <a:solidFill>
                <a:schemeClr val="bg2"/>
              </a:solidFill>
              <a:latin typeface="Arial" panose="020B0604020202020204" pitchFamily="34" charset="0"/>
              <a:ea typeface="Roboto Regular" pitchFamily="34" charset="-122"/>
              <a:cs typeface="Arial" panose="020B0604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B424B520-E5D8-B93C-5EED-D5A4D4ABAB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т производства к обществу: волонтёрские проекты СИБУРа</a:t>
            </a: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6A68E039-B8CA-7E32-9D75-D0129C5C82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716" y="4736063"/>
            <a:ext cx="8070172" cy="233535"/>
          </a:xfrm>
        </p:spPr>
        <p:txBody>
          <a:bodyPr/>
          <a:lstStyle/>
          <a:p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blagpanorama.com/news/novosti/2021-06-16/v-blagoveschenske-poyavilsya-novyy-art-ob-ekt-2361974?ysclid=mfgokgv8293819849</a:t>
            </a:r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29C8B9E8-C473-FEF7-5EDF-95D0D13E3C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D6BD4F9B-539D-B67E-BB67-839125080F2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04751" y="1775287"/>
            <a:ext cx="1902405" cy="61555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dirty="0" smtClean="0">
                <a:ea typeface="Arial Regular" pitchFamily="34" charset="-122"/>
              </a:rPr>
              <a:t>Экологических субботников проведено в городе силами волонтеров СИБУРа, студентов и школьников</a:t>
            </a:r>
            <a:endParaRPr lang="ru-RU" dirty="0">
              <a:ea typeface="Arial Regular" pitchFamily="34" charset="-122"/>
            </a:endParaRPr>
          </a:p>
        </p:txBody>
      </p:sp>
      <p:sp>
        <p:nvSpPr>
          <p:cNvPr id="9" name="Текст 8">
            <a:extLst>
              <a:ext uri="{FF2B5EF4-FFF2-40B4-BE49-F238E27FC236}">
                <a16:creationId xmlns:a16="http://schemas.microsoft.com/office/drawing/2014/main" id="{92111B51-3F14-1DCD-A0C1-5F6F4F9620D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004751" y="2919416"/>
            <a:ext cx="1851991" cy="1061829"/>
          </a:xfrm>
        </p:spPr>
        <p:txBody>
          <a:bodyPr/>
          <a:lstStyle/>
          <a:p>
            <a:pPr lvl="1"/>
            <a:r>
              <a:rPr lang="ru-RU" sz="2800" b="1" dirty="0" smtClean="0">
                <a:solidFill>
                  <a:srgbClr val="008C95"/>
                </a:solidFill>
              </a:rPr>
              <a:t>130 000</a:t>
            </a:r>
          </a:p>
          <a:p>
            <a:pPr lvl="1">
              <a:lnSpc>
                <a:spcPct val="100000"/>
              </a:lnSpc>
              <a:buClr>
                <a:schemeClr val="tx2"/>
              </a:buClr>
            </a:pPr>
            <a:endParaRPr lang="ru-RU" sz="1100" dirty="0" smtClean="0">
              <a:solidFill>
                <a:srgbClr val="003D4C"/>
              </a:solidFill>
              <a:ea typeface="Arial Regular" pitchFamily="34" charset="-122"/>
            </a:endParaRPr>
          </a:p>
          <a:p>
            <a:pPr lvl="1">
              <a:buClr>
                <a:schemeClr val="tx2"/>
              </a:buClr>
            </a:pPr>
            <a:r>
              <a:rPr lang="ru-RU" sz="1000" dirty="0">
                <a:solidFill>
                  <a:srgbClr val="003D4C"/>
                </a:solidFill>
                <a:ea typeface="Arial Regular" pitchFamily="34" charset="-122"/>
              </a:rPr>
              <a:t>саженцев высажено благодаря реализация проекта </a:t>
            </a:r>
          </a:p>
          <a:p>
            <a:pPr lvl="1">
              <a:buClr>
                <a:schemeClr val="tx2"/>
              </a:buClr>
            </a:pPr>
            <a:r>
              <a:rPr lang="ru-RU" sz="1000" dirty="0">
                <a:solidFill>
                  <a:srgbClr val="003D4C"/>
                </a:solidFill>
                <a:ea typeface="Arial Regular" pitchFamily="34" charset="-122"/>
              </a:rPr>
              <a:t>«Зеленая формула» </a:t>
            </a:r>
          </a:p>
        </p:txBody>
      </p:sp>
      <p:sp>
        <p:nvSpPr>
          <p:cNvPr id="20" name="Текст 19">
            <a:extLst>
              <a:ext uri="{FF2B5EF4-FFF2-40B4-BE49-F238E27FC236}">
                <a16:creationId xmlns:a16="http://schemas.microsoft.com/office/drawing/2014/main" id="{4AC13FEB-960F-DE36-84F2-FDC92136D5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70320" y="2919416"/>
            <a:ext cx="2347552" cy="1969770"/>
          </a:xfrm>
        </p:spPr>
        <p:txBody>
          <a:bodyPr/>
          <a:lstStyle/>
          <a:p>
            <a:pPr lvl="1"/>
            <a:r>
              <a:rPr lang="ru-RU" sz="1200" b="1" dirty="0" smtClean="0">
                <a:solidFill>
                  <a:schemeClr val="accent1"/>
                </a:solidFill>
              </a:rPr>
              <a:t>Эко-просвещение</a:t>
            </a:r>
          </a:p>
          <a:p>
            <a:pPr lvl="1">
              <a:lnSpc>
                <a:spcPct val="100000"/>
              </a:lnSpc>
              <a:buClr>
                <a:schemeClr val="tx2"/>
              </a:buClr>
            </a:pPr>
            <a:endParaRPr lang="ru-RU" sz="1100" dirty="0" smtClean="0">
              <a:solidFill>
                <a:srgbClr val="003D4C"/>
              </a:solidFill>
              <a:ea typeface="Arial Regular" pitchFamily="34" charset="-122"/>
            </a:endParaRPr>
          </a:p>
          <a:p>
            <a:pPr marL="171450" lvl="1" indent="-171450">
              <a:lnSpc>
                <a:spcPct val="100000"/>
              </a:lnSpc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dirty="0" smtClean="0">
                <a:solidFill>
                  <a:srgbClr val="003D4C"/>
                </a:solidFill>
                <a:ea typeface="Arial Regular" pitchFamily="34" charset="-122"/>
              </a:rPr>
              <a:t>Создание комикса раскраски для детей о нефтехимии и экологии</a:t>
            </a:r>
          </a:p>
          <a:p>
            <a:pPr marL="171450" lvl="1" indent="-171450"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dirty="0" smtClean="0">
                <a:solidFill>
                  <a:srgbClr val="003D4C"/>
                </a:solidFill>
                <a:ea typeface="Arial Regular" pitchFamily="34" charset="-122"/>
              </a:rPr>
              <a:t>180+ эко просветительских </a:t>
            </a:r>
            <a:r>
              <a:rPr lang="ru-RU" sz="1000" dirty="0">
                <a:solidFill>
                  <a:srgbClr val="003D4C"/>
                </a:solidFill>
                <a:ea typeface="Arial Regular" pitchFamily="34" charset="-122"/>
              </a:rPr>
              <a:t>мероприятий для детей и </a:t>
            </a:r>
            <a:r>
              <a:rPr lang="ru-RU" sz="1000" dirty="0" smtClean="0">
                <a:solidFill>
                  <a:srgbClr val="003D4C"/>
                </a:solidFill>
                <a:ea typeface="Arial Regular" pitchFamily="34" charset="-122"/>
              </a:rPr>
              <a:t>взрослых</a:t>
            </a:r>
          </a:p>
          <a:p>
            <a:pPr marL="171450" lvl="1" indent="-171450"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dirty="0" smtClean="0">
                <a:solidFill>
                  <a:srgbClr val="00313C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Больше 1000 </a:t>
            </a:r>
            <a:r>
              <a:rPr lang="ru-RU" sz="1000" dirty="0">
                <a:solidFill>
                  <a:srgbClr val="00313C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учеников </a:t>
            </a:r>
            <a:r>
              <a:rPr lang="ru-RU" sz="1000" dirty="0" smtClean="0">
                <a:solidFill>
                  <a:srgbClr val="00313C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посетили эко-уроки</a:t>
            </a:r>
            <a:endParaRPr lang="ru-RU" sz="1000" dirty="0">
              <a:solidFill>
                <a:srgbClr val="003D4C"/>
              </a:solidFill>
              <a:ea typeface="Arial Regular" pitchFamily="34" charset="-122"/>
            </a:endParaRPr>
          </a:p>
          <a:p>
            <a:pPr marL="171450" lvl="1" indent="-171450">
              <a:lnSpc>
                <a:spcPct val="100000"/>
              </a:lnSpc>
              <a:buClr>
                <a:schemeClr val="tx2"/>
              </a:buClr>
              <a:buFont typeface="Wingdings" panose="05000000000000000000" pitchFamily="2" charset="2"/>
              <a:buChar char="ü"/>
            </a:pPr>
            <a:endParaRPr lang="ru-RU" sz="1000" dirty="0" smtClean="0">
              <a:solidFill>
                <a:srgbClr val="003D4C"/>
              </a:solidFill>
              <a:ea typeface="Arial Regular" pitchFamily="34" charset="-122"/>
            </a:endParaRPr>
          </a:p>
          <a:p>
            <a:pPr lvl="1">
              <a:lnSpc>
                <a:spcPct val="100000"/>
              </a:lnSpc>
              <a:buClr>
                <a:schemeClr val="tx2"/>
              </a:buClr>
            </a:pPr>
            <a:endParaRPr lang="ru-RU" sz="1000" dirty="0">
              <a:solidFill>
                <a:srgbClr val="003D4C"/>
              </a:solidFill>
              <a:ea typeface="Arial Regular" pitchFamily="34" charset="-122"/>
            </a:endParaRPr>
          </a:p>
          <a:p>
            <a:pPr lvl="1">
              <a:lnSpc>
                <a:spcPct val="100000"/>
              </a:lnSpc>
              <a:buClr>
                <a:schemeClr val="tx2"/>
              </a:buClr>
            </a:pPr>
            <a:endParaRPr lang="ru-RU" sz="1000" dirty="0" smtClean="0">
              <a:solidFill>
                <a:srgbClr val="003D4C"/>
              </a:solidFill>
              <a:ea typeface="Arial Regular" pitchFamily="34" charset="-122"/>
            </a:endParaRPr>
          </a:p>
          <a:p>
            <a:pPr lvl="1">
              <a:lnSpc>
                <a:spcPct val="100000"/>
              </a:lnSpc>
              <a:buClr>
                <a:schemeClr val="tx2"/>
              </a:buClr>
            </a:pPr>
            <a:endParaRPr lang="ru-RU" sz="1000" dirty="0">
              <a:solidFill>
                <a:srgbClr val="003D4C"/>
              </a:solidFill>
              <a:ea typeface="Arial Regular" pitchFamily="34" charset="-122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3"/>
          <a:srcRect l="16168" r="1" b="10390"/>
          <a:stretch/>
        </p:blipFill>
        <p:spPr>
          <a:xfrm>
            <a:off x="6263640" y="1141219"/>
            <a:ext cx="2580188" cy="164770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42338" name="Picture 2" descr="822304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53" b="6827"/>
          <a:stretch/>
        </p:blipFill>
        <p:spPr bwMode="auto">
          <a:xfrm>
            <a:off x="457716" y="1141219"/>
            <a:ext cx="2922534" cy="152400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Текст 8"/>
          <p:cNvSpPr txBox="1">
            <a:spLocks/>
          </p:cNvSpPr>
          <p:nvPr/>
        </p:nvSpPr>
        <p:spPr>
          <a:xfrm>
            <a:off x="878814" y="3611138"/>
            <a:ext cx="1996465" cy="709872"/>
          </a:xfrm>
          <a:prstGeom prst="roundRect">
            <a:avLst>
              <a:gd name="adj" fmla="val 6202"/>
            </a:avLst>
          </a:prstGeom>
        </p:spPr>
        <p:txBody>
          <a:bodyPr vert="horz" lIns="0" tIns="0" rIns="0" bIns="0" rtlCol="0">
            <a:noAutofit/>
          </a:bodyPr>
          <a:lstStyle>
            <a:lvl1pPr mar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  <a:defRPr lang="ru-RU" sz="1000" b="0" i="0" kern="120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  <a:lvl2pPr mar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4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2pPr>
            <a:lvl3pPr mar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3pPr>
            <a:lvl4pPr mar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4pPr>
            <a:lvl5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875" kern="1200" dirty="0">
                <a:solidFill>
                  <a:srgbClr val="003D4C">
                    <a:alpha val="100000"/>
                  </a:srgbClr>
                </a:solidFill>
                <a:latin typeface="Roboto Regular" pitchFamily="34" charset="0"/>
                <a:ea typeface="Roboto Regular" pitchFamily="34" charset="-122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dirty="0" smtClean="0">
                <a:solidFill>
                  <a:schemeClr val="bg1"/>
                </a:solidFill>
              </a:rPr>
              <a:t>Волонтерских проектов реализовано силами сотрудников ПОЛИЭФ и студентами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DA5562E-EA67-6A76-BBDF-F9DA7496DE79}"/>
              </a:ext>
            </a:extLst>
          </p:cNvPr>
          <p:cNvSpPr txBox="1"/>
          <p:nvPr/>
        </p:nvSpPr>
        <p:spPr>
          <a:xfrm>
            <a:off x="736406" y="3021400"/>
            <a:ext cx="229127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2800" dirty="0" smtClean="0">
                <a:solidFill>
                  <a:schemeClr val="accent6"/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rPr>
              <a:t>48 проектов</a:t>
            </a:r>
            <a:endParaRPr lang="ru-RU" sz="2800" kern="1200" dirty="0">
              <a:solidFill>
                <a:schemeClr val="accent6"/>
              </a:solidFill>
              <a:latin typeface="Arial" panose="020B0604020202020204" pitchFamily="34" charset="0"/>
              <a:ea typeface="Roboto Regular" pitchFamily="34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7531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9266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7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Заголовок 10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Преимущества программы «Бесшовная подготовка кадров»</a:t>
            </a:r>
            <a:endParaRPr lang="en-US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716280" y="1162434"/>
            <a:ext cx="784860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200" b="1" dirty="0">
                <a:solidFill>
                  <a:schemeClr val="accent1"/>
                </a:solidFill>
              </a:rPr>
              <a:t>Единый цикл взаимодействия:</a:t>
            </a:r>
          </a:p>
          <a:p>
            <a:r>
              <a:rPr lang="ru-RU" sz="1200" b="1" dirty="0">
                <a:solidFill>
                  <a:schemeClr val="accent1"/>
                </a:solidFill>
              </a:rPr>
              <a:t>Дошкольники → Школьники → Студенты → Работники</a:t>
            </a:r>
          </a:p>
          <a:p>
            <a:r>
              <a:rPr lang="ru-RU" sz="1200" b="1" dirty="0">
                <a:solidFill>
                  <a:schemeClr val="accent1"/>
                </a:solidFill>
              </a:rPr>
              <a:t>— без разрывов между этапами обучения и реальным производством</a:t>
            </a:r>
            <a:r>
              <a:rPr lang="ru-RU" sz="1200" b="1" dirty="0" smtClean="0">
                <a:solidFill>
                  <a:schemeClr val="accent1"/>
                </a:solidFill>
              </a:rPr>
              <a:t>.</a:t>
            </a:r>
          </a:p>
        </p:txBody>
      </p:sp>
      <p:sp>
        <p:nvSpPr>
          <p:cNvPr id="17" name="Номер слайда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2" name="Скругленный прямоугольник 1"/>
          <p:cNvSpPr/>
          <p:nvPr/>
        </p:nvSpPr>
        <p:spPr bwMode="auto">
          <a:xfrm>
            <a:off x="251460" y="2026920"/>
            <a:ext cx="2727960" cy="2730715"/>
          </a:xfrm>
          <a:prstGeom prst="round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>
              <a:spcAft>
                <a:spcPts val="600"/>
              </a:spcAft>
            </a:pPr>
            <a:r>
              <a:rPr lang="ru-RU" sz="1200" b="1" dirty="0" smtClean="0">
                <a:solidFill>
                  <a:srgbClr val="008C95"/>
                </a:solidFill>
              </a:rPr>
              <a:t>Что </a:t>
            </a:r>
            <a:r>
              <a:rPr lang="ru-RU" sz="1200" b="1" dirty="0">
                <a:solidFill>
                  <a:srgbClr val="008C95"/>
                </a:solidFill>
              </a:rPr>
              <a:t>даёт образованию: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000" dirty="0" smtClean="0"/>
              <a:t>Реальные </a:t>
            </a:r>
            <a:r>
              <a:rPr lang="ru-RU" sz="1000" dirty="0"/>
              <a:t>связи с рынком труда — ученики видят, зачем им </a:t>
            </a:r>
            <a:r>
              <a:rPr lang="ru-RU" sz="1000" dirty="0" smtClean="0"/>
              <a:t>знания;</a:t>
            </a:r>
            <a:endParaRPr lang="ru-RU" sz="10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000" dirty="0" smtClean="0"/>
              <a:t>Актуализация </a:t>
            </a:r>
            <a:r>
              <a:rPr lang="ru-RU" sz="1000" dirty="0"/>
              <a:t>учебных программ — контент формируется с учётом потребностей </a:t>
            </a:r>
            <a:r>
              <a:rPr lang="ru-RU" sz="1000" dirty="0" smtClean="0"/>
              <a:t>бизнеса;</a:t>
            </a:r>
            <a:endParaRPr lang="ru-RU" sz="10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000" dirty="0" smtClean="0"/>
              <a:t>Мотивация </a:t>
            </a:r>
            <a:r>
              <a:rPr lang="ru-RU" sz="1000" dirty="0"/>
              <a:t>детей: от «зачем мне </a:t>
            </a:r>
            <a:r>
              <a:rPr lang="ru-RU" sz="1000" dirty="0" smtClean="0"/>
              <a:t>химия?» </a:t>
            </a:r>
            <a:r>
              <a:rPr lang="ru-RU" sz="1000" dirty="0"/>
              <a:t>до «я хочу работать здесь</a:t>
            </a:r>
            <a:r>
              <a:rPr lang="ru-RU" sz="1000" dirty="0" smtClean="0"/>
              <a:t>!»;</a:t>
            </a:r>
            <a:endParaRPr lang="ru-RU" sz="10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000" dirty="0" smtClean="0"/>
              <a:t>Партнёрство </a:t>
            </a:r>
            <a:r>
              <a:rPr lang="ru-RU" sz="1000" dirty="0"/>
              <a:t>с предприятием — школы становятся частью экосистемы развития </a:t>
            </a:r>
            <a:r>
              <a:rPr lang="ru-RU" sz="1000" dirty="0" smtClean="0"/>
              <a:t>региона.</a:t>
            </a:r>
            <a:endParaRPr lang="ru-RU" sz="10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endParaRPr kumimoji="0" lang="ru-RU" sz="1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 bwMode="auto">
          <a:xfrm>
            <a:off x="3249930" y="2026919"/>
            <a:ext cx="2727960" cy="2730715"/>
          </a:xfrm>
          <a:prstGeom prst="round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>
              <a:spcAft>
                <a:spcPts val="600"/>
              </a:spcAft>
            </a:pPr>
            <a:r>
              <a:rPr lang="ru-RU" sz="1200" b="1" dirty="0">
                <a:solidFill>
                  <a:srgbClr val="008C95"/>
                </a:solidFill>
              </a:rPr>
              <a:t>Что даёт </a:t>
            </a:r>
            <a:r>
              <a:rPr lang="ru-RU" sz="1200" b="1" dirty="0" smtClean="0">
                <a:solidFill>
                  <a:srgbClr val="008C95"/>
                </a:solidFill>
              </a:rPr>
              <a:t>предприятию:</a:t>
            </a:r>
            <a:endParaRPr lang="ru-RU" sz="1200" b="1" dirty="0">
              <a:solidFill>
                <a:srgbClr val="008C95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200" dirty="0"/>
              <a:t> </a:t>
            </a:r>
            <a:r>
              <a:rPr lang="ru-RU" sz="1000" dirty="0"/>
              <a:t>Формирование лояльности с раннего возраста — дети узнают бренд как часть своей </a:t>
            </a:r>
            <a:r>
              <a:rPr lang="ru-RU" sz="1000" dirty="0" smtClean="0"/>
              <a:t>жизни;</a:t>
            </a:r>
            <a:endParaRPr lang="ru-RU" sz="10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000" dirty="0" smtClean="0"/>
              <a:t>Конвейер </a:t>
            </a:r>
            <a:r>
              <a:rPr lang="ru-RU" sz="1000" dirty="0"/>
              <a:t>талантов: будущие сотрудники уже знают культуру, технологии, ценности </a:t>
            </a:r>
            <a:r>
              <a:rPr lang="ru-RU" sz="1000" dirty="0" smtClean="0"/>
              <a:t>компании;</a:t>
            </a:r>
            <a:endParaRPr lang="ru-RU" sz="10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000" dirty="0" smtClean="0"/>
              <a:t>Снижение </a:t>
            </a:r>
            <a:r>
              <a:rPr lang="ru-RU" sz="1000" dirty="0"/>
              <a:t>затрат на адаптацию: студенты приходят готовыми к работе — с практикой и пониманием </a:t>
            </a:r>
            <a:r>
              <a:rPr lang="ru-RU" sz="1000" dirty="0" smtClean="0"/>
              <a:t>процессов;</a:t>
            </a:r>
            <a:endParaRPr lang="ru-RU" sz="10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000" dirty="0" smtClean="0"/>
              <a:t>Репутация </a:t>
            </a:r>
            <a:r>
              <a:rPr lang="ru-RU" sz="1000" dirty="0"/>
              <a:t>социально ответственного работодателя — доверие у родителей, СМИ, </a:t>
            </a:r>
            <a:r>
              <a:rPr lang="ru-RU" sz="1000" dirty="0" smtClean="0"/>
              <a:t>властей.</a:t>
            </a:r>
            <a:endParaRPr lang="ru-RU" sz="1000" dirty="0"/>
          </a:p>
        </p:txBody>
      </p:sp>
      <p:sp>
        <p:nvSpPr>
          <p:cNvPr id="20" name="Скругленный прямоугольник 19"/>
          <p:cNvSpPr/>
          <p:nvPr/>
        </p:nvSpPr>
        <p:spPr bwMode="auto">
          <a:xfrm>
            <a:off x="6248400" y="2026919"/>
            <a:ext cx="2727960" cy="2730715"/>
          </a:xfrm>
          <a:prstGeom prst="round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>
              <a:spcAft>
                <a:spcPts val="600"/>
              </a:spcAft>
            </a:pPr>
            <a:r>
              <a:rPr lang="ru-RU" sz="1200" b="1" dirty="0">
                <a:solidFill>
                  <a:srgbClr val="008C95"/>
                </a:solidFill>
              </a:rPr>
              <a:t>Что </a:t>
            </a:r>
            <a:r>
              <a:rPr lang="ru-RU" sz="1200" b="1" dirty="0" smtClean="0">
                <a:solidFill>
                  <a:srgbClr val="008C95"/>
                </a:solidFill>
              </a:rPr>
              <a:t>дает городу </a:t>
            </a:r>
            <a:r>
              <a:rPr lang="ru-RU" sz="1200" b="1" dirty="0">
                <a:solidFill>
                  <a:srgbClr val="008C95"/>
                </a:solidFill>
              </a:rPr>
              <a:t>и системе: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000" dirty="0" smtClean="0"/>
              <a:t> </a:t>
            </a:r>
            <a:r>
              <a:rPr lang="ru-RU" sz="1000" dirty="0"/>
              <a:t>Устранение «разрыва» между образованием и экономикой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000" dirty="0" smtClean="0"/>
              <a:t> </a:t>
            </a:r>
            <a:r>
              <a:rPr lang="ru-RU" sz="1000" dirty="0"/>
              <a:t>Рост привлекательности региона для молодёжи — не уезжают, а остаются и работают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000" dirty="0" smtClean="0"/>
              <a:t>Устойчивое </a:t>
            </a:r>
            <a:r>
              <a:rPr lang="ru-RU" sz="1000" dirty="0"/>
              <a:t>развитие отрасли: кадры растут вместе с технологиями</a:t>
            </a:r>
          </a:p>
        </p:txBody>
      </p:sp>
      <p:sp>
        <p:nvSpPr>
          <p:cNvPr id="21" name="Нижний колонтитул 3">
            <a:extLst>
              <a:ext uri="{FF2B5EF4-FFF2-40B4-BE49-F238E27FC236}">
                <a16:creationId xmlns:a16="http://schemas.microsoft.com/office/drawing/2014/main" id="{EDB66AA3-0E08-1241-1E8A-E7DB02766C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4383" y="4760389"/>
            <a:ext cx="7917181" cy="310486"/>
          </a:xfrm>
        </p:spPr>
        <p:txBody>
          <a:bodyPr/>
          <a:lstStyle/>
          <a:p>
            <a:r>
              <a:rPr lang="ru-RU" dirty="0" smtClean="0"/>
              <a:t>«</a:t>
            </a:r>
            <a:r>
              <a:rPr lang="ru-RU" dirty="0" err="1"/>
              <a:t>Бесшовность</a:t>
            </a:r>
            <a:r>
              <a:rPr lang="ru-RU" dirty="0"/>
              <a:t>» — когда ребёнок, который делает мыльные пузыри, через 15 лет разрабатывает формулы для новых полимеров</a:t>
            </a:r>
          </a:p>
        </p:txBody>
      </p:sp>
    </p:spTree>
    <p:extLst>
      <p:ext uri="{BB962C8B-B14F-4D97-AF65-F5344CB8AC3E}">
        <p14:creationId xmlns:p14="http://schemas.microsoft.com/office/powerpoint/2010/main" val="4229182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49F0EEEF-8629-23EC-EE3C-2872024DAEF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prstGeom prst="roundRect">
            <a:avLst>
              <a:gd name="adj" fmla="val 0"/>
            </a:avLst>
          </a:prstGeom>
        </p:spPr>
      </p:pic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74519F0F-04D2-421E-1D42-2DD48DE79C15}"/>
              </a:ext>
            </a:extLst>
          </p:cNvPr>
          <p:cNvSpPr/>
          <p:nvPr/>
        </p:nvSpPr>
        <p:spPr bwMode="auto">
          <a:xfrm>
            <a:off x="5219700" y="337835"/>
            <a:ext cx="3614334" cy="4482138"/>
          </a:xfrm>
          <a:prstGeom prst="roundRect">
            <a:avLst>
              <a:gd name="adj" fmla="val 7445"/>
            </a:avLst>
          </a:prstGeom>
          <a:gradFill>
            <a:gsLst>
              <a:gs pos="0">
                <a:srgbClr val="00737A"/>
              </a:gs>
              <a:gs pos="54000">
                <a:schemeClr val="accent1"/>
              </a:gs>
              <a:gs pos="97000">
                <a:schemeClr val="accent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Arial" charset="0"/>
            </a:endParaRPr>
          </a:p>
        </p:txBody>
      </p:sp>
      <p:sp>
        <p:nvSpPr>
          <p:cNvPr id="3" name="Текст 4">
            <a:extLst>
              <a:ext uri="{FF2B5EF4-FFF2-40B4-BE49-F238E27FC236}">
                <a16:creationId xmlns:a16="http://schemas.microsoft.com/office/drawing/2014/main" id="{9B4FE192-602C-EE40-CE1B-3284D8AB11CD}"/>
              </a:ext>
            </a:extLst>
          </p:cNvPr>
          <p:cNvSpPr txBox="1">
            <a:spLocks/>
          </p:cNvSpPr>
          <p:nvPr/>
        </p:nvSpPr>
        <p:spPr>
          <a:xfrm>
            <a:off x="5616605" y="1778083"/>
            <a:ext cx="3091229" cy="2351454"/>
          </a:xfrm>
          <a:prstGeom prst="rect">
            <a:avLst/>
          </a:prstGeom>
        </p:spPr>
        <p:txBody>
          <a:bodyPr lIns="0"/>
          <a:lstStyle>
            <a:lvl1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  <a:defRPr lang="ru-RU" sz="1875" b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  <a:lvl2pPr marL="0" indent="0" algn="l" defTabSz="778986" rtl="0" eaLnBrk="1" fontAlgn="base" latinLnBrk="0" hangingPunct="1">
              <a:lnSpc>
                <a:spcPts val="148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38" b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2pPr>
            <a:lvl3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125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3pPr>
            <a:lvl4pPr marL="0" indent="0" algn="l" defTabSz="778986" rtl="0" eaLnBrk="1" fontAlgn="base" latinLnBrk="0" hangingPunct="1">
              <a:lnSpc>
                <a:spcPts val="112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4pPr>
            <a:lvl5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875" kern="1200" dirty="0">
                <a:solidFill>
                  <a:srgbClr val="003D4C">
                    <a:alpha val="100000"/>
                  </a:srgbClr>
                </a:solidFill>
                <a:latin typeface="Roboto Regular" pitchFamily="34" charset="0"/>
                <a:ea typeface="Roboto Regular" pitchFamily="34" charset="-122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lnSpc>
                <a:spcPct val="100000"/>
              </a:lnSpc>
              <a:buClr>
                <a:schemeClr val="tx2"/>
              </a:buClr>
            </a:pPr>
            <a:r>
              <a:rPr lang="ru-RU" sz="1400" dirty="0" smtClean="0">
                <a:solidFill>
                  <a:schemeClr val="bg1"/>
                </a:solidFill>
                <a:ea typeface="Arial Regular" pitchFamily="34" charset="-122"/>
              </a:rPr>
              <a:t>При возникновении вопросов по практике вы можете обращаться к эксперту службы директора по управлению персоналом АО «ПОЛИЭФ»:</a:t>
            </a:r>
          </a:p>
          <a:p>
            <a:pPr lvl="1">
              <a:lnSpc>
                <a:spcPct val="100000"/>
              </a:lnSpc>
              <a:buClr>
                <a:schemeClr val="tx2"/>
              </a:buClr>
            </a:pPr>
            <a:endParaRPr lang="ru-RU" sz="1400" dirty="0">
              <a:solidFill>
                <a:schemeClr val="bg1"/>
              </a:solidFill>
              <a:ea typeface="Arial Regular" pitchFamily="34" charset="-122"/>
            </a:endParaRPr>
          </a:p>
          <a:p>
            <a:pPr lvl="1">
              <a:lnSpc>
                <a:spcPct val="100000"/>
              </a:lnSpc>
              <a:buClr>
                <a:schemeClr val="tx2"/>
              </a:buClr>
            </a:pPr>
            <a:r>
              <a:rPr lang="ru-RU" sz="1400" dirty="0" smtClean="0">
                <a:solidFill>
                  <a:schemeClr val="bg1"/>
                </a:solidFill>
                <a:ea typeface="Arial Regular" pitchFamily="34" charset="-122"/>
              </a:rPr>
              <a:t>Бахтиева </a:t>
            </a:r>
            <a:r>
              <a:rPr lang="ru-RU" sz="1400" dirty="0">
                <a:solidFill>
                  <a:schemeClr val="bg1"/>
                </a:solidFill>
                <a:ea typeface="Arial Regular" pitchFamily="34" charset="-122"/>
              </a:rPr>
              <a:t>Ризана Мирхадиевна,</a:t>
            </a:r>
          </a:p>
          <a:p>
            <a:pPr lvl="1">
              <a:lnSpc>
                <a:spcPct val="100000"/>
              </a:lnSpc>
              <a:buClr>
                <a:schemeClr val="tx2"/>
              </a:buClr>
            </a:pPr>
            <a:r>
              <a:rPr lang="ru-RU" sz="1400" dirty="0" smtClean="0">
                <a:solidFill>
                  <a:schemeClr val="bg1"/>
                </a:solidFill>
                <a:ea typeface="Arial Regular" pitchFamily="34" charset="-122"/>
              </a:rPr>
              <a:t>Bakhtievarm@polef.sibur.ru </a:t>
            </a:r>
            <a:endParaRPr lang="ru-RU" sz="1400" dirty="0">
              <a:solidFill>
                <a:schemeClr val="bg1"/>
              </a:solidFill>
              <a:ea typeface="Arial Regular" pitchFamily="34" charset="-122"/>
            </a:endParaRPr>
          </a:p>
          <a:p>
            <a:pPr lvl="1">
              <a:lnSpc>
                <a:spcPct val="100000"/>
              </a:lnSpc>
              <a:buClr>
                <a:schemeClr val="tx2"/>
              </a:buClr>
            </a:pPr>
            <a:r>
              <a:rPr lang="ru-RU" sz="1400" dirty="0">
                <a:solidFill>
                  <a:schemeClr val="bg1"/>
                </a:solidFill>
                <a:ea typeface="Arial Regular" pitchFamily="34" charset="-122"/>
              </a:rPr>
              <a:t>89272346367</a:t>
            </a:r>
          </a:p>
          <a:p>
            <a:pPr lvl="1">
              <a:lnSpc>
                <a:spcPct val="100000"/>
              </a:lnSpc>
              <a:buClr>
                <a:schemeClr val="tx2"/>
              </a:buClr>
            </a:pPr>
            <a:endParaRPr lang="ru-RU" sz="1400" dirty="0" smtClean="0">
              <a:solidFill>
                <a:schemeClr val="bg1"/>
              </a:solidFill>
              <a:ea typeface="Arial Regular" pitchFamily="34" charset="-122"/>
            </a:endParaRPr>
          </a:p>
        </p:txBody>
      </p:sp>
      <p:sp>
        <p:nvSpPr>
          <p:cNvPr id="7" name="Нижний колонтитул 2">
            <a:extLst>
              <a:ext uri="{FF2B5EF4-FFF2-40B4-BE49-F238E27FC236}">
                <a16:creationId xmlns:a16="http://schemas.microsoft.com/office/drawing/2014/main" id="{EA915963-1218-6834-BC59-A0431FE518F5}"/>
              </a:ext>
            </a:extLst>
          </p:cNvPr>
          <p:cNvSpPr txBox="1">
            <a:spLocks/>
          </p:cNvSpPr>
          <p:nvPr/>
        </p:nvSpPr>
        <p:spPr>
          <a:xfrm>
            <a:off x="5616605" y="651806"/>
            <a:ext cx="3217429" cy="783306"/>
          </a:xfrm>
          <a:prstGeom prst="rect">
            <a:avLst/>
          </a:prstGeom>
        </p:spPr>
        <p:txBody>
          <a:bodyPr vert="horz" lIns="0" tIns="45720" rIns="91440" bIns="45720" rtlCol="0" anchor="t"/>
          <a:lstStyle>
            <a:defPPr>
              <a:defRPr lang="ru-RU"/>
            </a:defPPr>
            <a:lvl1pPr marL="0" algn="l" defTabSz="778986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8949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8986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479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7972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46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6957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6450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5943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r>
              <a:rPr lang="ru-RU" sz="2000" b="1" dirty="0" smtClean="0">
                <a:solidFill>
                  <a:schemeClr val="bg1"/>
                </a:solidFill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rPr>
              <a:t>Спасибо за внимание!</a:t>
            </a:r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ea typeface="Arial Bold" pitchFamily="34" charset="-122"/>
              <a:cs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738973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: скругленные углы 5">
            <a:extLst>
              <a:ext uri="{FF2B5EF4-FFF2-40B4-BE49-F238E27FC236}">
                <a16:creationId xmlns:a16="http://schemas.microsoft.com/office/drawing/2014/main" id="{890A2B52-9CCF-364B-DD24-FC345B4EE7D1}"/>
              </a:ext>
            </a:extLst>
          </p:cNvPr>
          <p:cNvSpPr/>
          <p:nvPr/>
        </p:nvSpPr>
        <p:spPr bwMode="auto">
          <a:xfrm>
            <a:off x="129540" y="4004035"/>
            <a:ext cx="4481090" cy="27332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8" name="Прямоугольник: скругленные углы 5">
            <a:extLst>
              <a:ext uri="{FF2B5EF4-FFF2-40B4-BE49-F238E27FC236}">
                <a16:creationId xmlns:a16="http://schemas.microsoft.com/office/drawing/2014/main" id="{890A2B52-9CCF-364B-DD24-FC345B4EE7D1}"/>
              </a:ext>
            </a:extLst>
          </p:cNvPr>
          <p:cNvSpPr/>
          <p:nvPr/>
        </p:nvSpPr>
        <p:spPr bwMode="auto">
          <a:xfrm>
            <a:off x="129540" y="1005915"/>
            <a:ext cx="8869680" cy="23336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890A2B52-9CCF-364B-DD24-FC345B4EE7D1}"/>
              </a:ext>
            </a:extLst>
          </p:cNvPr>
          <p:cNvSpPr/>
          <p:nvPr/>
        </p:nvSpPr>
        <p:spPr bwMode="auto">
          <a:xfrm>
            <a:off x="129540" y="1579461"/>
            <a:ext cx="8869680" cy="23336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4" name="Рисунок 13" descr="Изображение выглядит как круг,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3A48C1B6-7AE8-BCD5-3F39-127E663C9F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586" y="1290598"/>
            <a:ext cx="879335" cy="877733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56BF5252-B9CD-933D-6583-7DA6CB9366DE}"/>
              </a:ext>
            </a:extLst>
          </p:cNvPr>
          <p:cNvSpPr/>
          <p:nvPr/>
        </p:nvSpPr>
        <p:spPr bwMode="auto">
          <a:xfrm>
            <a:off x="430213" y="406039"/>
            <a:ext cx="2846387" cy="36240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8">
            <a:extLst>
              <a:ext uri="{FF2B5EF4-FFF2-40B4-BE49-F238E27FC236}">
                <a16:creationId xmlns:a16="http://schemas.microsoft.com/office/drawing/2014/main" id="{D211F20B-0D03-98A1-C986-0E6128B88BEB}"/>
              </a:ext>
            </a:extLst>
          </p:cNvPr>
          <p:cNvSpPr txBox="1">
            <a:spLocks/>
          </p:cNvSpPr>
          <p:nvPr/>
        </p:nvSpPr>
        <p:spPr>
          <a:xfrm>
            <a:off x="403836" y="292204"/>
            <a:ext cx="7922083" cy="571433"/>
          </a:xfrm>
          <a:prstGeom prst="rect">
            <a:avLst/>
          </a:prstGeom>
        </p:spPr>
        <p:txBody>
          <a:bodyPr vert="horz"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/>
            <a:r>
              <a:rPr lang="ru-RU" sz="2400" b="0" kern="0" dirty="0">
                <a:latin typeface="Roboto Black" panose="02000000000000000000" pitchFamily="2" charset="0"/>
                <a:ea typeface="Roboto Black" panose="02000000000000000000" pitchFamily="2" charset="0"/>
                <a:cs typeface="Roboto Flex Normal Light" panose="02000000000000000000" charset="0"/>
              </a:rPr>
              <a:t>ДОРОЖНАЯ КАРТА –</a:t>
            </a:r>
            <a:r>
              <a:rPr lang="ru-RU" sz="2400" b="0" kern="0" dirty="0">
                <a:solidFill>
                  <a:schemeClr val="tx2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Flex Normal Light" panose="02000000000000000000" charset="0"/>
              </a:rPr>
              <a:t> </a:t>
            </a:r>
            <a:r>
              <a:rPr lang="ru-RU" sz="2400" b="0" kern="0" dirty="0" smtClean="0">
                <a:solidFill>
                  <a:schemeClr val="tx2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Flex Normal Light" panose="02000000000000000000" charset="0"/>
              </a:rPr>
              <a:t> БЕСШОВНАЯ ПОДГОТОВКА</a:t>
            </a:r>
            <a:endParaRPr lang="ru-RU" sz="2400" b="0" kern="0" dirty="0">
              <a:solidFill>
                <a:schemeClr val="tx2"/>
              </a:solidFill>
              <a:latin typeface="Roboto Black" panose="02000000000000000000" pitchFamily="2" charset="0"/>
              <a:ea typeface="Roboto Black" panose="02000000000000000000" pitchFamily="2" charset="0"/>
              <a:cs typeface="Roboto Flex Normal Light" panose="02000000000000000000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B5AF340-57CC-C1BB-30B2-8A7D1409CE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865" y="1546978"/>
            <a:ext cx="305593" cy="30559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20D760B-11B1-318F-7CDE-326600E4E497}"/>
              </a:ext>
            </a:extLst>
          </p:cNvPr>
          <p:cNvSpPr txBox="1"/>
          <p:nvPr/>
        </p:nvSpPr>
        <p:spPr>
          <a:xfrm>
            <a:off x="158299" y="2141434"/>
            <a:ext cx="130492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ошкольное образование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06B4ED6B-399D-273D-1663-A1D23EFBF82C}"/>
              </a:ext>
            </a:extLst>
          </p:cNvPr>
          <p:cNvSpPr/>
          <p:nvPr/>
        </p:nvSpPr>
        <p:spPr>
          <a:xfrm>
            <a:off x="195697" y="2554937"/>
            <a:ext cx="1897975" cy="938719"/>
          </a:xfrm>
          <a:prstGeom prst="rect">
            <a:avLst/>
          </a:prstGeom>
        </p:spPr>
        <p:txBody>
          <a:bodyPr wrap="square" anchor="t" anchorCtr="0">
            <a:spAutoFit/>
          </a:bodyPr>
          <a:lstStyle/>
          <a:p>
            <a:pPr marL="87313" indent="-87313" fontAlgn="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accent5"/>
                </a:solidFill>
                <a:latin typeface="Arial" panose="020B0604020202020204" pitchFamily="34" charset="0"/>
              </a:rPr>
              <a:t>Проект «Химики с пеленок»</a:t>
            </a:r>
            <a:endParaRPr lang="en-US" sz="1000" dirty="0">
              <a:solidFill>
                <a:schemeClr val="accent5"/>
              </a:solidFill>
              <a:latin typeface="Arial" panose="020B0604020202020204" pitchFamily="34" charset="0"/>
            </a:endParaRPr>
          </a:p>
          <a:p>
            <a:pPr marL="87313" indent="-87313" fontAlgn="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accent5"/>
                </a:solidFill>
                <a:latin typeface="Arial" panose="020B0604020202020204" pitchFamily="34" charset="0"/>
              </a:rPr>
              <a:t>Эко-уроки</a:t>
            </a:r>
            <a:endParaRPr lang="ru-RU" sz="1000" dirty="0">
              <a:solidFill>
                <a:schemeClr val="accent5"/>
              </a:solidFill>
              <a:latin typeface="Arial" panose="020B0604020202020204" pitchFamily="34" charset="0"/>
            </a:endParaRPr>
          </a:p>
          <a:p>
            <a:pPr marL="87313" indent="-87313" fontAlgn="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accent5"/>
                </a:solidFill>
                <a:latin typeface="Arial" panose="020B0604020202020204" pitchFamily="34" charset="0"/>
              </a:rPr>
              <a:t>Турниры по эко-шашкам</a:t>
            </a:r>
            <a:r>
              <a:rPr lang="en-US" sz="1000" dirty="0" smtClean="0">
                <a:solidFill>
                  <a:schemeClr val="accent5"/>
                </a:solidFill>
                <a:latin typeface="Arial" panose="020B0604020202020204" pitchFamily="34" charset="0"/>
              </a:rPr>
              <a:t> </a:t>
            </a:r>
            <a:r>
              <a:rPr lang="ru-RU" sz="1000" dirty="0" smtClean="0">
                <a:solidFill>
                  <a:schemeClr val="accent5"/>
                </a:solidFill>
                <a:latin typeface="Arial" panose="020B0604020202020204" pitchFamily="34" charset="0"/>
              </a:rPr>
              <a:t> и т.д.</a:t>
            </a:r>
            <a:endParaRPr lang="ru-RU" sz="1000" dirty="0">
              <a:solidFill>
                <a:schemeClr val="accent5"/>
              </a:solidFill>
              <a:latin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C150C6B-E4CF-6DEB-4FEF-11E635F05A36}"/>
              </a:ext>
            </a:extLst>
          </p:cNvPr>
          <p:cNvSpPr txBox="1"/>
          <p:nvPr/>
        </p:nvSpPr>
        <p:spPr>
          <a:xfrm>
            <a:off x="2270176" y="2116953"/>
            <a:ext cx="142305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реднее общее образование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78DDC611-DB9A-E315-794D-0CA0CD899A00}"/>
              </a:ext>
            </a:extLst>
          </p:cNvPr>
          <p:cNvSpPr/>
          <p:nvPr/>
        </p:nvSpPr>
        <p:spPr>
          <a:xfrm>
            <a:off x="2093672" y="2548469"/>
            <a:ext cx="2092272" cy="1669688"/>
          </a:xfrm>
          <a:prstGeom prst="rect">
            <a:avLst/>
          </a:prstGeom>
        </p:spPr>
        <p:txBody>
          <a:bodyPr wrap="square" anchor="t" anchorCtr="0">
            <a:spAutoFit/>
          </a:bodyPr>
          <a:lstStyle/>
          <a:p>
            <a:pPr marL="87313" indent="-87313" fontAlgn="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accent5"/>
                </a:solidFill>
                <a:latin typeface="Arial" panose="020B0604020202020204" pitchFamily="34" charset="0"/>
              </a:rPr>
              <a:t>Дооснащение оборудованием профильных кабинетов химии и физики </a:t>
            </a:r>
            <a:endParaRPr lang="ru-RU" sz="1000" dirty="0" smtClean="0">
              <a:solidFill>
                <a:schemeClr val="accent5"/>
              </a:solidFill>
              <a:latin typeface="Arial" panose="020B0604020202020204" pitchFamily="34" charset="0"/>
            </a:endParaRPr>
          </a:p>
          <a:p>
            <a:pPr marL="87313" indent="-87313" fontAlgn="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accent5"/>
                </a:solidFill>
                <a:latin typeface="Arial" panose="020B0604020202020204" pitchFamily="34" charset="0"/>
              </a:rPr>
              <a:t>Менделеевская смена</a:t>
            </a:r>
          </a:p>
          <a:p>
            <a:pPr marL="87313" indent="-87313" fontAlgn="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dirty="0" err="1" smtClean="0">
                <a:solidFill>
                  <a:schemeClr val="accent5"/>
                </a:solidFill>
                <a:latin typeface="Arial" panose="020B0604020202020204" pitchFamily="34" charset="0"/>
              </a:rPr>
              <a:t>Профориентационные</a:t>
            </a:r>
            <a:r>
              <a:rPr lang="ru-RU" sz="1000" dirty="0" smtClean="0">
                <a:solidFill>
                  <a:schemeClr val="accent5"/>
                </a:solidFill>
                <a:latin typeface="Arial" panose="020B0604020202020204" pitchFamily="34" charset="0"/>
              </a:rPr>
              <a:t> экскурсии, </a:t>
            </a:r>
            <a:r>
              <a:rPr lang="ru-RU" sz="1000" dirty="0" err="1" smtClean="0">
                <a:solidFill>
                  <a:schemeClr val="accent5"/>
                </a:solidFill>
                <a:latin typeface="Arial" panose="020B0604020202020204" pitchFamily="34" charset="0"/>
              </a:rPr>
              <a:t>профпробы</a:t>
            </a:r>
            <a:endParaRPr lang="ru-RU" sz="1000" dirty="0" smtClean="0">
              <a:solidFill>
                <a:schemeClr val="accent5"/>
              </a:solidFill>
              <a:latin typeface="Arial" panose="020B0604020202020204" pitchFamily="34" charset="0"/>
            </a:endParaRPr>
          </a:p>
          <a:p>
            <a:pPr marL="87313" indent="-87313" fontAlgn="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accent5"/>
                </a:solidFill>
                <a:latin typeface="Arial" panose="020B0604020202020204" pitchFamily="34" charset="0"/>
              </a:rPr>
              <a:t>СИБУР-класс</a:t>
            </a:r>
          </a:p>
          <a:p>
            <a:pPr marL="87313" indent="-87313" fontAlgn="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accent5"/>
                </a:solidFill>
                <a:latin typeface="Arial" panose="020B0604020202020204" pitchFamily="34" charset="0"/>
              </a:rPr>
              <a:t>Клуб юных химиков и т.д.</a:t>
            </a:r>
          </a:p>
          <a:p>
            <a:pPr marL="87313" indent="-87313" fontAlgn="t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ru-RU" sz="1000" dirty="0">
              <a:solidFill>
                <a:schemeClr val="accent5"/>
              </a:solidFill>
              <a:latin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9902DAC-1EF0-8A44-BC89-FAE7A34A3BF7}"/>
              </a:ext>
            </a:extLst>
          </p:cNvPr>
          <p:cNvSpPr txBox="1"/>
          <p:nvPr/>
        </p:nvSpPr>
        <p:spPr>
          <a:xfrm>
            <a:off x="1153163" y="3997124"/>
            <a:ext cx="283762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ополнительное образование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FAE5133B-0205-5938-A37F-0DB77A92018C}"/>
              </a:ext>
            </a:extLst>
          </p:cNvPr>
          <p:cNvSpPr/>
          <p:nvPr/>
        </p:nvSpPr>
        <p:spPr>
          <a:xfrm>
            <a:off x="798163" y="4306493"/>
            <a:ext cx="3711844" cy="784830"/>
          </a:xfrm>
          <a:prstGeom prst="rect">
            <a:avLst/>
          </a:prstGeom>
        </p:spPr>
        <p:txBody>
          <a:bodyPr wrap="square" anchor="t" anchorCtr="0">
            <a:spAutoFit/>
          </a:bodyPr>
          <a:lstStyle/>
          <a:p>
            <a:pPr marL="87313" indent="-87313" fontAlgn="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accent5"/>
                </a:solidFill>
                <a:latin typeface="Arial" panose="020B0604020202020204" pitchFamily="34" charset="0"/>
              </a:rPr>
              <a:t>Открытие хим. лаборатории в </a:t>
            </a:r>
            <a:r>
              <a:rPr lang="ru-RU" sz="1000" dirty="0" err="1" smtClean="0">
                <a:solidFill>
                  <a:schemeClr val="accent5"/>
                </a:solidFill>
                <a:latin typeface="Arial" panose="020B0604020202020204" pitchFamily="34" charset="0"/>
              </a:rPr>
              <a:t>Кванториум</a:t>
            </a:r>
            <a:endParaRPr lang="ru-RU" sz="1000" dirty="0" smtClean="0">
              <a:solidFill>
                <a:schemeClr val="accent5"/>
              </a:solidFill>
              <a:latin typeface="Arial" panose="020B0604020202020204" pitchFamily="34" charset="0"/>
            </a:endParaRPr>
          </a:p>
          <a:p>
            <a:pPr marL="87313" indent="-87313" fontAlgn="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accent5"/>
                </a:solidFill>
                <a:latin typeface="Arial" panose="020B0604020202020204" pitchFamily="34" charset="0"/>
              </a:rPr>
              <a:t>Запуск роботизированного комплекса «Кука»</a:t>
            </a:r>
            <a:endParaRPr lang="ru-RU" sz="1000" dirty="0">
              <a:solidFill>
                <a:schemeClr val="accent5"/>
              </a:solidFill>
              <a:latin typeface="Arial" panose="020B0604020202020204" pitchFamily="34" charset="0"/>
            </a:endParaRPr>
          </a:p>
          <a:p>
            <a:pPr marL="87313" indent="-87313" fontAlgn="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accent5"/>
                </a:solidFill>
                <a:latin typeface="Arial" panose="020B0604020202020204" pitchFamily="34" charset="0"/>
              </a:rPr>
              <a:t>Открытие новых направлений: </a:t>
            </a:r>
            <a:r>
              <a:rPr lang="ru-RU" sz="1000" dirty="0" err="1" smtClean="0">
                <a:solidFill>
                  <a:schemeClr val="accent5"/>
                </a:solidFill>
                <a:latin typeface="Arial" panose="020B0604020202020204" pitchFamily="34" charset="0"/>
              </a:rPr>
              <a:t>аэромоделирование</a:t>
            </a:r>
            <a:r>
              <a:rPr lang="ru-RU" sz="1000" dirty="0">
                <a:solidFill>
                  <a:schemeClr val="accent5"/>
                </a:solidFill>
                <a:latin typeface="Arial" panose="020B0604020202020204" pitchFamily="34" charset="0"/>
              </a:rPr>
              <a:t>, </a:t>
            </a:r>
            <a:r>
              <a:rPr lang="en-US" sz="1000" dirty="0" smtClean="0">
                <a:solidFill>
                  <a:schemeClr val="accent5"/>
                </a:solidFill>
                <a:latin typeface="Arial" panose="020B0604020202020204" pitchFamily="34" charset="0"/>
              </a:rPr>
              <a:t>VR</a:t>
            </a:r>
            <a:r>
              <a:rPr lang="ru-RU" sz="1000" dirty="0" smtClean="0">
                <a:solidFill>
                  <a:schemeClr val="accent5"/>
                </a:solidFill>
                <a:latin typeface="Arial" panose="020B0604020202020204" pitchFamily="34" charset="0"/>
              </a:rPr>
              <a:t>, робототехника и т.д.</a:t>
            </a:r>
            <a:endParaRPr lang="ru-RU" sz="1000" dirty="0">
              <a:solidFill>
                <a:schemeClr val="accent5"/>
              </a:solidFill>
              <a:latin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10146DF-4114-A0A5-DDED-002D31C9F322}"/>
              </a:ext>
            </a:extLst>
          </p:cNvPr>
          <p:cNvSpPr txBox="1"/>
          <p:nvPr/>
        </p:nvSpPr>
        <p:spPr>
          <a:xfrm>
            <a:off x="4528341" y="2128778"/>
            <a:ext cx="208200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реднее специальное образование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C42B8F9E-F9EF-9028-2D9E-7E54D9AA117E}"/>
              </a:ext>
            </a:extLst>
          </p:cNvPr>
          <p:cNvSpPr/>
          <p:nvPr/>
        </p:nvSpPr>
        <p:spPr>
          <a:xfrm>
            <a:off x="4429605" y="2562796"/>
            <a:ext cx="2321189" cy="1785104"/>
          </a:xfrm>
          <a:prstGeom prst="rect">
            <a:avLst/>
          </a:prstGeom>
        </p:spPr>
        <p:txBody>
          <a:bodyPr wrap="square" anchor="t" anchorCtr="0">
            <a:spAutoFit/>
          </a:bodyPr>
          <a:lstStyle/>
          <a:p>
            <a:pPr marL="87313" indent="-87313" fontAlgn="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accent5"/>
                </a:solidFill>
                <a:latin typeface="Arial" panose="020B0604020202020204" pitchFamily="34" charset="0"/>
              </a:rPr>
              <a:t>Ремонт и оснащение лабораторий</a:t>
            </a:r>
            <a:endParaRPr lang="ru-RU" sz="1000" dirty="0">
              <a:solidFill>
                <a:schemeClr val="accent5"/>
              </a:solidFill>
              <a:latin typeface="Arial" panose="020B0604020202020204" pitchFamily="34" charset="0"/>
            </a:endParaRPr>
          </a:p>
          <a:p>
            <a:pPr marL="87313" indent="-87313" fontAlgn="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accent5"/>
                </a:solidFill>
                <a:latin typeface="Arial" panose="020B0604020202020204" pitchFamily="34" charset="0"/>
              </a:rPr>
              <a:t>Стажировка преподавателей на ПОЛИЭФ и компании в целом</a:t>
            </a:r>
            <a:endParaRPr lang="ru-RU" sz="1000" dirty="0">
              <a:solidFill>
                <a:schemeClr val="accent5"/>
              </a:solidFill>
              <a:latin typeface="Arial" panose="020B0604020202020204" pitchFamily="34" charset="0"/>
            </a:endParaRPr>
          </a:p>
          <a:p>
            <a:pPr marL="87313" indent="-87313" fontAlgn="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dirty="0" err="1" smtClean="0">
                <a:solidFill>
                  <a:schemeClr val="accent5"/>
                </a:solidFill>
                <a:latin typeface="Arial" panose="020B0604020202020204" pitchFamily="34" charset="0"/>
              </a:rPr>
              <a:t>Профориентационные</a:t>
            </a:r>
            <a:r>
              <a:rPr lang="ru-RU" sz="1000" dirty="0" smtClean="0">
                <a:solidFill>
                  <a:schemeClr val="accent5"/>
                </a:solidFill>
                <a:latin typeface="Arial" panose="020B0604020202020204" pitchFamily="34" charset="0"/>
              </a:rPr>
              <a:t> экскурсии</a:t>
            </a:r>
            <a:endParaRPr lang="ru-RU" sz="1000" dirty="0">
              <a:solidFill>
                <a:schemeClr val="accent5"/>
              </a:solidFill>
              <a:latin typeface="Arial" panose="020B0604020202020204" pitchFamily="34" charset="0"/>
            </a:endParaRPr>
          </a:p>
          <a:p>
            <a:pPr marL="87313" indent="-87313" fontAlgn="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accent5"/>
                </a:solidFill>
                <a:latin typeface="Arial" panose="020B0604020202020204" pitchFamily="34" charset="0"/>
              </a:rPr>
              <a:t>Профильные лекции по технологии производства предприятия</a:t>
            </a:r>
          </a:p>
          <a:p>
            <a:pPr marL="87313" indent="-87313" fontAlgn="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accent5"/>
                </a:solidFill>
                <a:latin typeface="Arial" panose="020B0604020202020204" pitchFamily="34" charset="0"/>
              </a:rPr>
              <a:t>Отработка полученных навыков на </a:t>
            </a:r>
            <a:r>
              <a:rPr lang="ru-RU" sz="1000" dirty="0" err="1" smtClean="0">
                <a:solidFill>
                  <a:schemeClr val="accent5"/>
                </a:solidFill>
                <a:latin typeface="Arial" panose="020B0604020202020204" pitchFamily="34" charset="0"/>
              </a:rPr>
              <a:t>КТК</a:t>
            </a:r>
            <a:r>
              <a:rPr lang="ru-RU" sz="1000" dirty="0" smtClean="0">
                <a:solidFill>
                  <a:schemeClr val="accent5"/>
                </a:solidFill>
                <a:latin typeface="Arial" panose="020B0604020202020204" pitchFamily="34" charset="0"/>
              </a:rPr>
              <a:t> (компьютерный тренажерный комплекс) и т.д.</a:t>
            </a:r>
            <a:endParaRPr lang="ru-RU" sz="1000" dirty="0">
              <a:solidFill>
                <a:schemeClr val="accent5"/>
              </a:solidFill>
              <a:latin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8462002-1794-1AD4-08E8-48C94CA34D3F}"/>
              </a:ext>
            </a:extLst>
          </p:cNvPr>
          <p:cNvSpPr txBox="1"/>
          <p:nvPr/>
        </p:nvSpPr>
        <p:spPr>
          <a:xfrm>
            <a:off x="7091711" y="2177609"/>
            <a:ext cx="180524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ысшее образование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2780FE2-1A80-0696-3280-DA0AD8A61488}"/>
              </a:ext>
            </a:extLst>
          </p:cNvPr>
          <p:cNvSpPr txBox="1"/>
          <p:nvPr/>
        </p:nvSpPr>
        <p:spPr>
          <a:xfrm>
            <a:off x="3834083" y="985595"/>
            <a:ext cx="149133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ЛИЭФ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F8B09E45-C49D-72C6-BB53-12C19B263900}"/>
              </a:ext>
            </a:extLst>
          </p:cNvPr>
          <p:cNvSpPr/>
          <p:nvPr/>
        </p:nvSpPr>
        <p:spPr>
          <a:xfrm>
            <a:off x="6988460" y="2562796"/>
            <a:ext cx="2160000" cy="2015936"/>
          </a:xfrm>
          <a:prstGeom prst="rect">
            <a:avLst/>
          </a:prstGeom>
        </p:spPr>
        <p:txBody>
          <a:bodyPr wrap="square" anchor="t" anchorCtr="0">
            <a:spAutoFit/>
          </a:bodyPr>
          <a:lstStyle/>
          <a:p>
            <a:pPr marL="87313" indent="-87313" fontAlgn="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accent5"/>
                </a:solidFill>
                <a:latin typeface="Arial" panose="020B0604020202020204" pitchFamily="34" charset="0"/>
              </a:rPr>
              <a:t>Профильные экскурсии</a:t>
            </a:r>
          </a:p>
          <a:p>
            <a:pPr marL="87313" indent="-87313" fontAlgn="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accent5"/>
                </a:solidFill>
                <a:latin typeface="Arial" panose="020B0604020202020204" pitchFamily="34" charset="0"/>
              </a:rPr>
              <a:t>Чемпионат </a:t>
            </a:r>
            <a:r>
              <a:rPr lang="en-US" sz="1000" dirty="0" smtClean="0">
                <a:solidFill>
                  <a:schemeClr val="accent5"/>
                </a:solidFill>
                <a:latin typeface="Arial" panose="020B0604020202020204" pitchFamily="34" charset="0"/>
              </a:rPr>
              <a:t>Case-in</a:t>
            </a:r>
          </a:p>
          <a:p>
            <a:pPr marL="87313" indent="-87313" fontAlgn="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accent5"/>
                </a:solidFill>
                <a:latin typeface="Arial" panose="020B0604020202020204" pitchFamily="34" charset="0"/>
              </a:rPr>
              <a:t>Форум молодых специалистов. Студенческая лига</a:t>
            </a:r>
          </a:p>
          <a:p>
            <a:pPr marL="87313" indent="-87313" fontAlgn="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accent5"/>
                </a:solidFill>
                <a:latin typeface="Arial" panose="020B0604020202020204" pitchFamily="34" charset="0"/>
              </a:rPr>
              <a:t>Создание </a:t>
            </a:r>
            <a:r>
              <a:rPr lang="ru-RU" sz="1000" dirty="0" err="1" smtClean="0">
                <a:solidFill>
                  <a:schemeClr val="accent5"/>
                </a:solidFill>
                <a:latin typeface="Arial" panose="020B0604020202020204" pitchFamily="34" charset="0"/>
              </a:rPr>
              <a:t>корп.группы</a:t>
            </a:r>
            <a:r>
              <a:rPr lang="ru-RU" sz="1000" dirty="0" smtClean="0">
                <a:solidFill>
                  <a:schemeClr val="accent5"/>
                </a:solidFill>
                <a:latin typeface="Arial" panose="020B0604020202020204" pitchFamily="34" charset="0"/>
              </a:rPr>
              <a:t> для сотрудников предприятия со средним специальным образованием</a:t>
            </a:r>
          </a:p>
          <a:p>
            <a:pPr marL="87313" indent="-87313" fontAlgn="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accent5"/>
                </a:solidFill>
                <a:latin typeface="Arial" panose="020B0604020202020204" pitchFamily="34" charset="0"/>
              </a:rPr>
              <a:t>Оплачиваемая практика</a:t>
            </a:r>
            <a:endParaRPr lang="ru-RU" sz="1000" dirty="0">
              <a:solidFill>
                <a:schemeClr val="accent5"/>
              </a:solidFill>
              <a:latin typeface="Arial" panose="020B0604020202020204" pitchFamily="34" charset="0"/>
            </a:endParaRPr>
          </a:p>
          <a:p>
            <a:pPr marL="87313" indent="-87313" fontAlgn="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accent5"/>
                </a:solidFill>
                <a:latin typeface="Arial" panose="020B0604020202020204" pitchFamily="34" charset="0"/>
              </a:rPr>
              <a:t>Оплачиваемая стажировка</a:t>
            </a:r>
            <a:endParaRPr lang="ru-RU" sz="1000" dirty="0">
              <a:solidFill>
                <a:schemeClr val="accent5"/>
              </a:solidFill>
              <a:latin typeface="Arial" panose="020B0604020202020204" pitchFamily="34" charset="0"/>
            </a:endParaRPr>
          </a:p>
          <a:p>
            <a:pPr marL="87313" indent="-87313" fontAlgn="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accent5"/>
                </a:solidFill>
                <a:latin typeface="Arial" panose="020B0604020202020204" pitchFamily="34" charset="0"/>
              </a:rPr>
              <a:t>Трудоустро</a:t>
            </a:r>
            <a:r>
              <a:rPr lang="ru-RU" sz="1000" dirty="0">
                <a:solidFill>
                  <a:schemeClr val="accent5"/>
                </a:solidFill>
                <a:latin typeface="Arial" panose="020B0604020202020204" pitchFamily="34" charset="0"/>
              </a:rPr>
              <a:t>й</a:t>
            </a:r>
            <a:r>
              <a:rPr lang="ru-RU" sz="1000" dirty="0" smtClean="0">
                <a:solidFill>
                  <a:schemeClr val="accent5"/>
                </a:solidFill>
                <a:latin typeface="Arial" panose="020B0604020202020204" pitchFamily="34" charset="0"/>
              </a:rPr>
              <a:t>ство</a:t>
            </a:r>
            <a:endParaRPr lang="ru-RU" sz="1000" dirty="0">
              <a:solidFill>
                <a:schemeClr val="accent5"/>
              </a:solidFill>
              <a:latin typeface="Arial" panose="020B0604020202020204" pitchFamily="34" charset="0"/>
            </a:endParaRPr>
          </a:p>
        </p:txBody>
      </p:sp>
      <p:pic>
        <p:nvPicPr>
          <p:cNvPr id="28" name="Рисунок 27" descr="Изображение выглядит как круг,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3430CAC9-651A-47D9-CE64-581B62CCB8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9059" y="1338602"/>
            <a:ext cx="879335" cy="877733"/>
          </a:xfrm>
          <a:prstGeom prst="rect">
            <a:avLst/>
          </a:prstGeom>
        </p:spPr>
      </p:pic>
      <p:pic>
        <p:nvPicPr>
          <p:cNvPr id="30" name="Рисунок 29" descr="Изображение выглядит как круг,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AA65A9CA-817B-068F-3658-DCF7829775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1476" y="1329734"/>
            <a:ext cx="879335" cy="877733"/>
          </a:xfrm>
          <a:prstGeom prst="rect">
            <a:avLst/>
          </a:prstGeom>
        </p:spPr>
      </p:pic>
      <p:pic>
        <p:nvPicPr>
          <p:cNvPr id="31" name="Рисунок 30" descr="Изображение выглядит как круг,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3E1FF277-33C9-6D9E-186F-2322772FF2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85728" y="1292920"/>
            <a:ext cx="879335" cy="877733"/>
          </a:xfrm>
          <a:prstGeom prst="rect">
            <a:avLst/>
          </a:prstGeom>
        </p:spPr>
      </p:pic>
      <p:pic>
        <p:nvPicPr>
          <p:cNvPr id="32" name="Рисунок 31" descr="Изображение выглядит как круг,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90326EA7-448A-CD89-AF42-F0967AD088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0234" y="720624"/>
            <a:ext cx="879335" cy="877733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4642D91C-6DD1-CAA8-004B-FBE99ECB6CB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9104" y="1604089"/>
            <a:ext cx="305594" cy="305594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EDBBE6F9-585D-5B4C-9A83-DC5B88A5F86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4869" y="1572505"/>
            <a:ext cx="298200" cy="298200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BFD338EE-6FA5-29F0-03AF-886AC34551C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1272" y="1581763"/>
            <a:ext cx="298200" cy="298200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9573CE98-BF02-EB21-CBB2-F2AA4320B77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0372" y="959984"/>
            <a:ext cx="314266" cy="340845"/>
          </a:xfrm>
          <a:prstGeom prst="rect">
            <a:avLst/>
          </a:prstGeom>
        </p:spPr>
      </p:pic>
      <p:pic>
        <p:nvPicPr>
          <p:cNvPr id="29" name="Рисунок 28" descr="Изображение выглядит как круг,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ED4750F6-3195-E5E6-7DF7-33BBFDBA45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7735" y="3701829"/>
            <a:ext cx="879335" cy="877733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446" y="3920005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0736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BE0DA7-FB0A-2348-2CD0-CA5D69FEB3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/>
          <a:srcRect l="394"/>
          <a:stretch/>
        </p:blipFill>
        <p:spPr>
          <a:xfrm>
            <a:off x="6237107" y="1129885"/>
            <a:ext cx="2613804" cy="339637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1" name="Заголовок 10">
            <a:extLst>
              <a:ext uri="{FF2B5EF4-FFF2-40B4-BE49-F238E27FC236}">
                <a16:creationId xmlns:a16="http://schemas.microsoft.com/office/drawing/2014/main" id="{D899CCDD-3057-D45D-7D55-2DB0647534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заимодействие с дошкольными учреждениями города Благовещенск и района</a:t>
            </a:r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EDB66AA3-0E08-1241-1E8A-E7DB02766C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hlinkClick r:id="rId3"/>
              </a:rPr>
              <a:t>ПАНОРАМА </a:t>
            </a:r>
            <a:r>
              <a:rPr lang="ru-RU" dirty="0">
                <a:hlinkClick r:id="rId3"/>
              </a:rPr>
              <a:t>| Благовещенск </a:t>
            </a:r>
            <a:r>
              <a:rPr lang="ru-RU" dirty="0" err="1" smtClean="0">
                <a:hlinkClick r:id="rId3"/>
              </a:rPr>
              <a:t>РБ</a:t>
            </a:r>
            <a:endParaRPr lang="ru-RU" dirty="0" smtClean="0"/>
          </a:p>
          <a:p>
            <a:r>
              <a:rPr lang="ru-RU" dirty="0">
                <a:hlinkClick r:id="rId4"/>
              </a:rPr>
              <a:t>В Благовещенске появилась новая метеостанция</a:t>
            </a:r>
            <a:endParaRPr lang="ru-RU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6DCD07BE-9E96-EE55-2D25-931A1B488C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7" name="Текст 6">
            <a:extLst>
              <a:ext uri="{FF2B5EF4-FFF2-40B4-BE49-F238E27FC236}">
                <a16:creationId xmlns:a16="http://schemas.microsoft.com/office/drawing/2014/main" id="{C1BE35CC-EE72-16CA-91CE-FD053FFAA1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7699" y="1897200"/>
            <a:ext cx="2262768" cy="307777"/>
          </a:xfrm>
        </p:spPr>
        <p:txBody>
          <a:bodyPr/>
          <a:lstStyle/>
          <a:p>
            <a:pPr lvl="1">
              <a:lnSpc>
                <a:spcPct val="100000"/>
              </a:lnSpc>
              <a:buClr>
                <a:schemeClr val="tx2"/>
              </a:buClr>
            </a:pPr>
            <a:r>
              <a:rPr lang="ru-RU" sz="1000" dirty="0">
                <a:solidFill>
                  <a:schemeClr val="bg1"/>
                </a:solidFill>
                <a:ea typeface="Arial Regular" pitchFamily="34" charset="-122"/>
              </a:rPr>
              <a:t>р</a:t>
            </a:r>
            <a:r>
              <a:rPr lang="ru-RU" sz="1000" dirty="0" smtClean="0">
                <a:solidFill>
                  <a:schemeClr val="bg1"/>
                </a:solidFill>
                <a:ea typeface="Arial Regular" pitchFamily="34" charset="-122"/>
              </a:rPr>
              <a:t>еализованных волонтерских проектов на базе детских садов</a:t>
            </a:r>
            <a:endParaRPr lang="ru-RU" sz="1000" dirty="0">
              <a:solidFill>
                <a:schemeClr val="bg1"/>
              </a:solidFill>
              <a:ea typeface="Arial Regular" pitchFamily="34" charset="-122"/>
            </a:endParaRPr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0DA0F7E7-92C4-6763-77D5-50907AB92DE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91880" y="1897200"/>
            <a:ext cx="2375520" cy="615553"/>
          </a:xfrm>
        </p:spPr>
        <p:txBody>
          <a:bodyPr/>
          <a:lstStyle/>
          <a:p>
            <a:pPr lvl="1">
              <a:lnSpc>
                <a:spcPct val="100000"/>
              </a:lnSpc>
              <a:buClr>
                <a:schemeClr val="tx2"/>
              </a:buClr>
            </a:pPr>
            <a:r>
              <a:rPr lang="ru-RU" sz="1000" dirty="0">
                <a:solidFill>
                  <a:srgbClr val="003D4C"/>
                </a:solidFill>
                <a:ea typeface="Arial Regular" pitchFamily="34" charset="-122"/>
              </a:rPr>
              <a:t>у</a:t>
            </a:r>
            <a:r>
              <a:rPr lang="ru-RU" sz="1000" dirty="0" smtClean="0">
                <a:solidFill>
                  <a:srgbClr val="003D4C"/>
                </a:solidFill>
                <a:ea typeface="Arial Regular" pitchFamily="34" charset="-122"/>
              </a:rPr>
              <a:t>роков по экологии для дошкольников города Благовещенск и Благовещенского района</a:t>
            </a:r>
            <a:endParaRPr lang="ru-RU" sz="1000" dirty="0">
              <a:solidFill>
                <a:srgbClr val="003D4C"/>
              </a:solidFill>
              <a:ea typeface="Arial Regular" pitchFamily="34" charset="-122"/>
            </a:endParaRPr>
          </a:p>
          <a:p>
            <a:pPr lvl="1">
              <a:lnSpc>
                <a:spcPct val="100000"/>
              </a:lnSpc>
              <a:buClr>
                <a:schemeClr val="tx2"/>
              </a:buClr>
            </a:pPr>
            <a:endParaRPr lang="ru-RU" sz="1000" dirty="0">
              <a:solidFill>
                <a:srgbClr val="003D4C"/>
              </a:solidFill>
              <a:ea typeface="Arial Regular" pitchFamily="34" charset="-122"/>
            </a:endParaRPr>
          </a:p>
        </p:txBody>
      </p:sp>
      <p:sp>
        <p:nvSpPr>
          <p:cNvPr id="12" name="Текст 11">
            <a:extLst>
              <a:ext uri="{FF2B5EF4-FFF2-40B4-BE49-F238E27FC236}">
                <a16:creationId xmlns:a16="http://schemas.microsoft.com/office/drawing/2014/main" id="{08565207-8863-B0B5-36D2-D0AFA964AEC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87706" y="2757087"/>
            <a:ext cx="2579693" cy="2103140"/>
          </a:xfrm>
        </p:spPr>
        <p:txBody>
          <a:bodyPr/>
          <a:lstStyle/>
          <a:p>
            <a:pPr marL="171450" lvl="1" indent="-171450">
              <a:lnSpc>
                <a:spcPct val="100000"/>
              </a:lnSpc>
              <a:spcAft>
                <a:spcPts val="200"/>
              </a:spcAft>
              <a:buClr>
                <a:schemeClr val="tx1"/>
              </a:buClr>
              <a:buFont typeface="Wingdings" panose="05000000000000000000" pitchFamily="2" charset="2"/>
              <a:buChar char="ü"/>
            </a:pPr>
            <a:r>
              <a:rPr lang="ru-RU" sz="1000" dirty="0" smtClean="0">
                <a:solidFill>
                  <a:schemeClr val="tx1"/>
                </a:solidFill>
                <a:ea typeface="Arial Regular" pitchFamily="34" charset="-122"/>
              </a:rPr>
              <a:t>Открытие химической лаборатории в </a:t>
            </a:r>
            <a:r>
              <a:rPr lang="ru-RU" sz="1000" dirty="0" err="1" smtClean="0">
                <a:solidFill>
                  <a:schemeClr val="tx1"/>
                </a:solidFill>
                <a:ea typeface="Arial Regular" pitchFamily="34" charset="-122"/>
              </a:rPr>
              <a:t>ЦРР</a:t>
            </a:r>
            <a:r>
              <a:rPr lang="ru-RU" sz="1000" dirty="0" smtClean="0">
                <a:solidFill>
                  <a:schemeClr val="tx1"/>
                </a:solidFill>
                <a:ea typeface="Arial Regular" pitchFamily="34" charset="-122"/>
              </a:rPr>
              <a:t> №11, метеостанции в </a:t>
            </a:r>
            <a:r>
              <a:rPr lang="ru-RU" sz="1000" dirty="0" err="1" smtClean="0">
                <a:solidFill>
                  <a:schemeClr val="tx1"/>
                </a:solidFill>
                <a:ea typeface="Arial Regular" pitchFamily="34" charset="-122"/>
              </a:rPr>
              <a:t>ЦРР</a:t>
            </a:r>
            <a:r>
              <a:rPr lang="ru-RU" sz="1000" dirty="0">
                <a:solidFill>
                  <a:schemeClr val="tx1"/>
                </a:solidFill>
                <a:ea typeface="Arial Regular" pitchFamily="34" charset="-122"/>
              </a:rPr>
              <a:t> </a:t>
            </a:r>
            <a:r>
              <a:rPr lang="ru-RU" sz="1000" dirty="0" smtClean="0">
                <a:solidFill>
                  <a:schemeClr val="tx1"/>
                </a:solidFill>
                <a:ea typeface="Arial Regular" pitchFamily="34" charset="-122"/>
              </a:rPr>
              <a:t>№12, арт-объекта «Космос» в </a:t>
            </a:r>
            <a:r>
              <a:rPr lang="ru-RU" sz="1000" dirty="0" err="1" smtClean="0">
                <a:solidFill>
                  <a:schemeClr val="tx1"/>
                </a:solidFill>
                <a:ea typeface="Arial Regular" pitchFamily="34" charset="-122"/>
              </a:rPr>
              <a:t>ЦРР</a:t>
            </a:r>
            <a:r>
              <a:rPr lang="ru-RU" sz="1000" dirty="0" smtClean="0">
                <a:solidFill>
                  <a:schemeClr val="tx1"/>
                </a:solidFill>
                <a:ea typeface="Arial Regular" pitchFamily="34" charset="-122"/>
              </a:rPr>
              <a:t> №2 и т.д.;</a:t>
            </a:r>
          </a:p>
          <a:p>
            <a:pPr marL="171450" lvl="1" indent="-171450">
              <a:lnSpc>
                <a:spcPct val="100000"/>
              </a:lnSpc>
              <a:spcAft>
                <a:spcPts val="200"/>
              </a:spcAft>
              <a:buClr>
                <a:schemeClr val="tx1"/>
              </a:buClr>
              <a:buFont typeface="Wingdings" panose="05000000000000000000" pitchFamily="2" charset="2"/>
              <a:buChar char="ü"/>
            </a:pPr>
            <a:r>
              <a:rPr lang="ru-RU" sz="1000" dirty="0" smtClean="0">
                <a:solidFill>
                  <a:schemeClr val="tx1"/>
                </a:solidFill>
                <a:ea typeface="Arial Regular" pitchFamily="34" charset="-122"/>
              </a:rPr>
              <a:t>Обучение дошкольников сортировке мусора, возможности вторичной переработки, бережного отношения к природе;</a:t>
            </a:r>
            <a:endParaRPr lang="ru-RU" sz="1000" dirty="0">
              <a:solidFill>
                <a:schemeClr val="tx1"/>
              </a:solidFill>
              <a:ea typeface="Arial Regular" pitchFamily="34" charset="-122"/>
            </a:endParaRPr>
          </a:p>
          <a:p>
            <a:pPr marL="171450" lvl="1" indent="-171450">
              <a:lnSpc>
                <a:spcPct val="100000"/>
              </a:lnSpc>
              <a:spcAft>
                <a:spcPts val="200"/>
              </a:spcAft>
              <a:buClr>
                <a:schemeClr val="tx1"/>
              </a:buClr>
              <a:buFont typeface="Wingdings" panose="05000000000000000000" pitchFamily="2" charset="2"/>
              <a:buChar char="ü"/>
            </a:pPr>
            <a:r>
              <a:rPr lang="ru-RU" sz="1000" dirty="0" smtClean="0">
                <a:solidFill>
                  <a:schemeClr val="tx1"/>
                </a:solidFill>
                <a:ea typeface="Arial Regular" pitchFamily="34" charset="-122"/>
              </a:rPr>
              <a:t>Проведение турниров по эко-шашкам, </a:t>
            </a:r>
            <a:r>
              <a:rPr lang="ru-RU" sz="1000" dirty="0" err="1" smtClean="0">
                <a:solidFill>
                  <a:schemeClr val="tx1"/>
                </a:solidFill>
                <a:ea typeface="Arial Regular" pitchFamily="34" charset="-122"/>
              </a:rPr>
              <a:t>квестов</a:t>
            </a:r>
            <a:r>
              <a:rPr lang="ru-RU" sz="1000" dirty="0" smtClean="0">
                <a:solidFill>
                  <a:schemeClr val="tx1"/>
                </a:solidFill>
                <a:ea typeface="Arial Regular" pitchFamily="34" charset="-122"/>
              </a:rPr>
              <a:t> по экологии;</a:t>
            </a:r>
          </a:p>
          <a:p>
            <a:pPr marL="171450" lvl="1" indent="-171450">
              <a:lnSpc>
                <a:spcPct val="100000"/>
              </a:lnSpc>
              <a:spcAft>
                <a:spcPts val="200"/>
              </a:spcAft>
              <a:buClr>
                <a:schemeClr val="tx1"/>
              </a:buClr>
              <a:buFont typeface="Wingdings" panose="05000000000000000000" pitchFamily="2" charset="2"/>
              <a:buChar char="ü"/>
            </a:pPr>
            <a:r>
              <a:rPr lang="ru-RU" sz="1000" dirty="0" smtClean="0">
                <a:solidFill>
                  <a:schemeClr val="tx1"/>
                </a:solidFill>
                <a:ea typeface="Arial Regular" pitchFamily="34" charset="-122"/>
              </a:rPr>
              <a:t>Знакомство с востребованными профессиями.</a:t>
            </a:r>
            <a:endParaRPr lang="ru-RU" sz="1000" dirty="0">
              <a:solidFill>
                <a:schemeClr val="tx1"/>
              </a:solidFill>
              <a:ea typeface="Arial Regular" pitchFamily="34" charset="-122"/>
            </a:endParaRPr>
          </a:p>
          <a:p>
            <a:endParaRPr lang="ru-RU" dirty="0"/>
          </a:p>
          <a:p>
            <a:endParaRPr lang="ru-RU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7DC2F69-0CDE-8014-07C7-82499B1D3326}"/>
              </a:ext>
            </a:extLst>
          </p:cNvPr>
          <p:cNvSpPr txBox="1"/>
          <p:nvPr/>
        </p:nvSpPr>
        <p:spPr>
          <a:xfrm>
            <a:off x="584158" y="1402494"/>
            <a:ext cx="167971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2800" kern="1200" dirty="0" smtClean="0">
                <a:solidFill>
                  <a:schemeClr val="bg1"/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rPr>
              <a:t>более 10</a:t>
            </a:r>
            <a:endParaRPr lang="ru-RU" sz="2800" kern="1200" dirty="0">
              <a:solidFill>
                <a:schemeClr val="bg1"/>
              </a:solidFill>
              <a:latin typeface="Arial" panose="020B0604020202020204" pitchFamily="34" charset="0"/>
              <a:ea typeface="Roboto Regular" pitchFamily="34" charset="-122"/>
              <a:cs typeface="Arial" panose="020B0604020202020204" pitchFamily="34" charset="0"/>
            </a:endParaRPr>
          </a:p>
        </p:txBody>
      </p:sp>
      <p:sp>
        <p:nvSpPr>
          <p:cNvPr id="25" name="Текст 4">
            <a:extLst>
              <a:ext uri="{FF2B5EF4-FFF2-40B4-BE49-F238E27FC236}">
                <a16:creationId xmlns:a16="http://schemas.microsoft.com/office/drawing/2014/main" id="{04C556F3-85A6-A3BE-68EC-637E4D2B00A7}"/>
              </a:ext>
            </a:extLst>
          </p:cNvPr>
          <p:cNvSpPr txBox="1">
            <a:spLocks/>
          </p:cNvSpPr>
          <p:nvPr/>
        </p:nvSpPr>
        <p:spPr>
          <a:xfrm>
            <a:off x="646042" y="1905414"/>
            <a:ext cx="2268000" cy="420343"/>
          </a:xfrm>
          <a:prstGeom prst="rect">
            <a:avLst/>
          </a:prstGeom>
        </p:spPr>
        <p:txBody>
          <a:bodyPr lIns="0"/>
          <a:lstStyle>
            <a:lvl1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  <a:defRPr lang="ru-RU" sz="1875" b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  <a:lvl2pPr marL="0" indent="0" algn="l" defTabSz="778986" rtl="0" eaLnBrk="1" fontAlgn="base" latinLnBrk="0" hangingPunct="1">
              <a:lnSpc>
                <a:spcPts val="148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38" b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2pPr>
            <a:lvl3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125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3pPr>
            <a:lvl4pPr marL="0" indent="0" algn="l" defTabSz="778986" rtl="0" eaLnBrk="1" fontAlgn="base" latinLnBrk="0" hangingPunct="1">
              <a:lnSpc>
                <a:spcPts val="112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4pPr>
            <a:lvl5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875" kern="1200" dirty="0">
                <a:solidFill>
                  <a:srgbClr val="003D4C">
                    <a:alpha val="100000"/>
                  </a:srgbClr>
                </a:solidFill>
                <a:latin typeface="Roboto Regular" pitchFamily="34" charset="0"/>
                <a:ea typeface="Roboto Regular" pitchFamily="34" charset="-122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lnSpc>
                <a:spcPct val="100000"/>
              </a:lnSpc>
              <a:buClr>
                <a:schemeClr val="tx2"/>
              </a:buClr>
            </a:pPr>
            <a:endParaRPr lang="ru-RU" sz="800" dirty="0">
              <a:solidFill>
                <a:schemeClr val="bg1"/>
              </a:solidFill>
              <a:ea typeface="Arial Regular" pitchFamily="34" charset="-122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DA5562E-EA67-6A76-BBDF-F9DA7496DE79}"/>
              </a:ext>
            </a:extLst>
          </p:cNvPr>
          <p:cNvSpPr txBox="1"/>
          <p:nvPr/>
        </p:nvSpPr>
        <p:spPr>
          <a:xfrm>
            <a:off x="3394435" y="1361348"/>
            <a:ext cx="195728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2800" dirty="0">
                <a:solidFill>
                  <a:schemeClr val="accent6"/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rPr>
              <a:t>б</a:t>
            </a:r>
            <a:r>
              <a:rPr lang="ru-RU" sz="2800" kern="1200" dirty="0" smtClean="0">
                <a:solidFill>
                  <a:schemeClr val="accent6"/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rPr>
              <a:t>олее 30</a:t>
            </a:r>
            <a:endParaRPr lang="ru-RU" sz="2800" kern="1200" dirty="0">
              <a:solidFill>
                <a:schemeClr val="accent6"/>
              </a:solidFill>
              <a:latin typeface="Arial" panose="020B0604020202020204" pitchFamily="34" charset="0"/>
              <a:ea typeface="Roboto Regular" pitchFamily="34" charset="-122"/>
              <a:cs typeface="Arial" panose="020B0604020202020204" pitchFamily="34" charset="0"/>
            </a:endParaRPr>
          </a:p>
        </p:txBody>
      </p:sp>
      <p:sp>
        <p:nvSpPr>
          <p:cNvPr id="27" name="Текст 4">
            <a:extLst>
              <a:ext uri="{FF2B5EF4-FFF2-40B4-BE49-F238E27FC236}">
                <a16:creationId xmlns:a16="http://schemas.microsoft.com/office/drawing/2014/main" id="{05BA17F8-4740-39F9-9085-8C7ED53E6849}"/>
              </a:ext>
            </a:extLst>
          </p:cNvPr>
          <p:cNvSpPr txBox="1">
            <a:spLocks/>
          </p:cNvSpPr>
          <p:nvPr/>
        </p:nvSpPr>
        <p:spPr>
          <a:xfrm>
            <a:off x="3489581" y="1905414"/>
            <a:ext cx="2268000" cy="420343"/>
          </a:xfrm>
          <a:prstGeom prst="rect">
            <a:avLst/>
          </a:prstGeom>
        </p:spPr>
        <p:txBody>
          <a:bodyPr lIns="0"/>
          <a:lstStyle>
            <a:lvl1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  <a:defRPr lang="ru-RU" sz="1875" b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  <a:lvl2pPr marL="0" indent="0" algn="l" defTabSz="778986" rtl="0" eaLnBrk="1" fontAlgn="base" latinLnBrk="0" hangingPunct="1">
              <a:lnSpc>
                <a:spcPts val="148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38" b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2pPr>
            <a:lvl3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125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3pPr>
            <a:lvl4pPr marL="0" indent="0" algn="l" defTabSz="778986" rtl="0" eaLnBrk="1" fontAlgn="base" latinLnBrk="0" hangingPunct="1">
              <a:lnSpc>
                <a:spcPts val="112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4pPr>
            <a:lvl5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875" kern="1200" dirty="0">
                <a:solidFill>
                  <a:srgbClr val="003D4C">
                    <a:alpha val="100000"/>
                  </a:srgbClr>
                </a:solidFill>
                <a:latin typeface="Roboto Regular" pitchFamily="34" charset="0"/>
                <a:ea typeface="Roboto Regular" pitchFamily="34" charset="-122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lnSpc>
                <a:spcPct val="100000"/>
              </a:lnSpc>
              <a:buClr>
                <a:schemeClr val="tx2"/>
              </a:buClr>
            </a:pPr>
            <a:endParaRPr lang="ru-RU" sz="800" dirty="0">
              <a:solidFill>
                <a:srgbClr val="003D4C"/>
              </a:solidFill>
              <a:ea typeface="Arial Regular" pitchFamily="34" charset="-122"/>
            </a:endParaRPr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4"/>
          </p:nvPr>
        </p:nvSpPr>
        <p:spPr/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3527" y="2689097"/>
            <a:ext cx="2772000" cy="184836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815804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Заголовок 12">
            <a:extLst>
              <a:ext uri="{FF2B5EF4-FFF2-40B4-BE49-F238E27FC236}">
                <a16:creationId xmlns:a16="http://schemas.microsoft.com/office/drawing/2014/main" id="{CBACDFFB-6EC1-61B2-FD79-3F9A891D22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заимодействие с дополнительным образованием города Благовещенск</a:t>
            </a:r>
            <a:endParaRPr lang="ru-RU" dirty="0"/>
          </a:p>
        </p:txBody>
      </p:sp>
      <p:sp>
        <p:nvSpPr>
          <p:cNvPr id="12" name="Нижний колонтитул 4"/>
          <p:cNvSpPr txBox="1">
            <a:spLocks/>
          </p:cNvSpPr>
          <p:nvPr/>
        </p:nvSpPr>
        <p:spPr>
          <a:xfrm>
            <a:off x="616153" y="4831204"/>
            <a:ext cx="5311574" cy="19855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49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8986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479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7972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46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6957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6450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5943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hlinkClick r:id="rId2"/>
              </a:rPr>
              <a:t>https://tehnoparkblagrb.02edu.ru/pupils/news/3206610/?</a:t>
            </a:r>
            <a:r>
              <a:rPr lang="en-US" sz="1000" dirty="0" smtClean="0">
                <a:hlinkClick r:id="rId2"/>
              </a:rPr>
              <a:t>ysclid=mfgofai9ut170989566</a:t>
            </a:r>
            <a:endParaRPr lang="ru-RU" sz="100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3543" y="1233898"/>
            <a:ext cx="2642802" cy="352373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8" name="Скругленный прямоугольник 7"/>
          <p:cNvSpPr/>
          <p:nvPr/>
        </p:nvSpPr>
        <p:spPr bwMode="auto">
          <a:xfrm>
            <a:off x="3468230" y="1111176"/>
            <a:ext cx="5579533" cy="3720028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>
              <a:spcAft>
                <a:spcPts val="600"/>
              </a:spcAft>
            </a:pPr>
            <a:r>
              <a:rPr lang="ru-RU" sz="1400" b="1" dirty="0" smtClean="0">
                <a:solidFill>
                  <a:schemeClr val="bg1"/>
                </a:solidFill>
              </a:rPr>
              <a:t>Уникальная </a:t>
            </a:r>
            <a:r>
              <a:rPr lang="ru-RU" sz="1400" b="1" dirty="0">
                <a:solidFill>
                  <a:schemeClr val="bg1"/>
                </a:solidFill>
              </a:rPr>
              <a:t>инфраструктура на одной площадке: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100" dirty="0">
                <a:solidFill>
                  <a:schemeClr val="bg1"/>
                </a:solidFill>
              </a:rPr>
              <a:t>Практическая лаборатория с полным комплектом реактивов и оборудования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100" dirty="0">
                <a:solidFill>
                  <a:schemeClr val="bg1"/>
                </a:solidFill>
              </a:rPr>
              <a:t>Кабинет теории с интерактивной панелью → 3D-визуализация химических опытов</a:t>
            </a:r>
          </a:p>
          <a:p>
            <a:pPr>
              <a:spcAft>
                <a:spcPts val="600"/>
              </a:spcAft>
            </a:pPr>
            <a:r>
              <a:rPr lang="ru-RU" sz="1400" b="1" dirty="0" smtClean="0">
                <a:solidFill>
                  <a:schemeClr val="bg1"/>
                </a:solidFill>
              </a:rPr>
              <a:t>Только </a:t>
            </a:r>
            <a:r>
              <a:rPr lang="ru-RU" sz="1400" b="1" dirty="0">
                <a:solidFill>
                  <a:schemeClr val="bg1"/>
                </a:solidFill>
              </a:rPr>
              <a:t>в Башкортостане</a:t>
            </a:r>
            <a:r>
              <a:rPr lang="ru-RU" sz="1400" b="1" dirty="0" smtClean="0">
                <a:solidFill>
                  <a:schemeClr val="bg1"/>
                </a:solidFill>
              </a:rPr>
              <a:t>: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chemeClr val="bg1"/>
                </a:solidFill>
              </a:rPr>
              <a:t>Единственный </a:t>
            </a:r>
            <a:r>
              <a:rPr lang="ru-RU" sz="1100" dirty="0">
                <a:solidFill>
                  <a:schemeClr val="bg1"/>
                </a:solidFill>
              </a:rPr>
              <a:t>в республике роботизированный комплекс «</a:t>
            </a:r>
            <a:r>
              <a:rPr lang="ru-RU" sz="1100" dirty="0" smtClean="0">
                <a:solidFill>
                  <a:schemeClr val="bg1"/>
                </a:solidFill>
              </a:rPr>
              <a:t>Кука»</a:t>
            </a:r>
          </a:p>
          <a:p>
            <a:pPr>
              <a:spcAft>
                <a:spcPts val="600"/>
              </a:spcAft>
            </a:pPr>
            <a:r>
              <a:rPr lang="ru-RU" sz="1100" dirty="0" smtClean="0">
                <a:solidFill>
                  <a:schemeClr val="bg1"/>
                </a:solidFill>
              </a:rPr>
              <a:t>→ Подготовка </a:t>
            </a:r>
            <a:r>
              <a:rPr lang="ru-RU" sz="1100" dirty="0">
                <a:solidFill>
                  <a:schemeClr val="bg1"/>
                </a:solidFill>
              </a:rPr>
              <a:t>подростков к чемпионату «Профессионалы» (включая участников из районов</a:t>
            </a:r>
            <a:r>
              <a:rPr lang="ru-RU" sz="1100" dirty="0" smtClean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718800" y="3492376"/>
            <a:ext cx="2445026" cy="1338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>
                <a:solidFill>
                  <a:schemeClr val="bg1"/>
                </a:solidFill>
              </a:rPr>
              <a:t>Новое событие 2025 года: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100" dirty="0">
                <a:solidFill>
                  <a:schemeClr val="bg1"/>
                </a:solidFill>
              </a:rPr>
              <a:t> Первый химический хакатон для 10–11 классов — октябрь 2025</a:t>
            </a:r>
          </a:p>
          <a:p>
            <a:pPr>
              <a:spcAft>
                <a:spcPts val="600"/>
              </a:spcAft>
            </a:pPr>
            <a:r>
              <a:rPr lang="ru-RU" sz="1100" dirty="0">
                <a:solidFill>
                  <a:schemeClr val="bg1"/>
                </a:solidFill>
              </a:rPr>
              <a:t>→ Решение реальных кейсов, соревнования, инновации в химии!</a:t>
            </a:r>
          </a:p>
          <a:p>
            <a:pPr algn="just">
              <a:spcAft>
                <a:spcPts val="600"/>
              </a:spcAft>
            </a:pPr>
            <a:endParaRPr lang="ru-RU" sz="1400" dirty="0" err="1" smtClean="0">
              <a:solidFill>
                <a:schemeClr val="tx2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/>
          <a:srcRect t="31362"/>
          <a:stretch/>
        </p:blipFill>
        <p:spPr>
          <a:xfrm flipH="1">
            <a:off x="6331750" y="3277233"/>
            <a:ext cx="2548089" cy="131171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56048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Grp="1" noChangeAspect="1"/>
          </p:cNvPicPr>
          <p:nvPr>
            <p:ph type="pic" sz="quarter" idx="2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24" b="15124"/>
          <a:stretch>
            <a:fillRect/>
          </a:stretch>
        </p:blipFill>
        <p:spPr/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заимодействие </a:t>
            </a:r>
            <a:r>
              <a:rPr lang="ru-RU" dirty="0" smtClean="0"/>
              <a:t>со школами города Благовещенск и района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647701" y="4823433"/>
            <a:ext cx="5311574" cy="198551"/>
          </a:xfrm>
        </p:spPr>
        <p:txBody>
          <a:bodyPr/>
          <a:lstStyle/>
          <a:p>
            <a:r>
              <a:rPr lang="en-US" dirty="0">
                <a:hlinkClick r:id="rId3"/>
              </a:rPr>
              <a:t>https://</a:t>
            </a:r>
            <a:r>
              <a:rPr lang="en-US" dirty="0" smtClean="0">
                <a:hlinkClick r:id="rId3"/>
              </a:rPr>
              <a:t>vk.com/wall-78442975_6696</a:t>
            </a:r>
            <a:endParaRPr lang="ru-RU" dirty="0" smtClean="0"/>
          </a:p>
          <a:p>
            <a:r>
              <a:rPr lang="en-US" dirty="0">
                <a:hlinkClick r:id="rId4"/>
              </a:rPr>
              <a:t>https://</a:t>
            </a:r>
            <a:r>
              <a:rPr lang="en-US" dirty="0" smtClean="0">
                <a:hlinkClick r:id="rId4"/>
              </a:rPr>
              <a:t>vk.com/wall-78442975_8668</a:t>
            </a:r>
            <a:r>
              <a:rPr lang="ru-RU" dirty="0" smtClean="0"/>
              <a:t>  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23"/>
          </p:nvPr>
        </p:nvSpPr>
        <p:spPr>
          <a:xfrm>
            <a:off x="2694079" y="3626105"/>
            <a:ext cx="1656000" cy="615553"/>
          </a:xfrm>
        </p:spPr>
        <p:txBody>
          <a:bodyPr/>
          <a:lstStyle/>
          <a:p>
            <a:r>
              <a:rPr lang="ru-RU" dirty="0"/>
              <a:t>13 школ города и района</a:t>
            </a:r>
          </a:p>
          <a:p>
            <a:r>
              <a:rPr lang="ru-RU" dirty="0" smtClean="0"/>
              <a:t>посетили «Менделеевскую смену» - интерактивный урок по химии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7"/>
          </p:nvPr>
        </p:nvSpPr>
        <p:spPr>
          <a:xfrm>
            <a:off x="464150" y="1973984"/>
            <a:ext cx="1620838" cy="461665"/>
          </a:xfrm>
        </p:spPr>
        <p:txBody>
          <a:bodyPr/>
          <a:lstStyle/>
          <a:p>
            <a:r>
              <a:rPr lang="ru-RU" dirty="0"/>
              <a:t>посетили предприятие с </a:t>
            </a:r>
            <a:r>
              <a:rPr lang="ru-RU" dirty="0" err="1"/>
              <a:t>профориентационной</a:t>
            </a:r>
            <a:r>
              <a:rPr lang="ru-RU" dirty="0"/>
              <a:t> </a:t>
            </a:r>
            <a:r>
              <a:rPr lang="ru-RU" dirty="0" smtClean="0"/>
              <a:t>экскурсией за учебный год 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25"/>
          </p:nvPr>
        </p:nvSpPr>
        <p:spPr>
          <a:xfrm>
            <a:off x="2627193" y="1886222"/>
            <a:ext cx="1722886" cy="461665"/>
          </a:xfrm>
        </p:spPr>
        <p:txBody>
          <a:bodyPr/>
          <a:lstStyle/>
          <a:p>
            <a:r>
              <a:rPr lang="ru-RU" dirty="0" smtClean="0"/>
              <a:t>дооснащены </a:t>
            </a:r>
            <a:r>
              <a:rPr lang="ru-RU" dirty="0"/>
              <a:t>необходимым оборудованием </a:t>
            </a:r>
            <a:r>
              <a:rPr lang="ru-RU" dirty="0" smtClean="0"/>
              <a:t>профильные кабинеты </a:t>
            </a:r>
            <a:r>
              <a:rPr lang="ru-RU" dirty="0"/>
              <a:t>химии и физики</a:t>
            </a:r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26"/>
          </p:nvPr>
        </p:nvSpPr>
        <p:spPr>
          <a:xfrm>
            <a:off x="4892284" y="1347614"/>
            <a:ext cx="3685186" cy="1608133"/>
          </a:xfrm>
        </p:spPr>
        <p:txBody>
          <a:bodyPr/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950" dirty="0" smtClean="0"/>
              <a:t>Ежегодно проводятся </a:t>
            </a:r>
            <a:r>
              <a:rPr lang="ru-RU" sz="950" dirty="0" err="1" smtClean="0"/>
              <a:t>профориентационные</a:t>
            </a:r>
            <a:r>
              <a:rPr lang="ru-RU" sz="950" dirty="0" smtClean="0"/>
              <a:t> родительские собрания для родителей детей-выпускников. С 2025 года такие собрания проводятся на территории предприятия с ознакомительной экскурсией;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950" dirty="0"/>
              <a:t>Д</a:t>
            </a:r>
            <a:r>
              <a:rPr lang="ru-RU" sz="950" dirty="0" smtClean="0"/>
              <a:t>ля </a:t>
            </a:r>
            <a:r>
              <a:rPr lang="ru-RU" sz="950" dirty="0"/>
              <a:t>школьников 9 и 10 классов города и района проводится Клуб юных химиков на базе Благовещенского многопрофильного колледжа, где школьники знакомятся с востребованными профессиями нефтехимии, решают кейсы по химии и знакомятся с цифровыми технологиями. В 2025 году приняло участие 60 чел;</a:t>
            </a:r>
            <a:endParaRPr lang="ru-RU" sz="950" dirty="0" smtClean="0"/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ru-RU" sz="95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DA5562E-EA67-6A76-BBDF-F9DA7496DE79}"/>
              </a:ext>
            </a:extLst>
          </p:cNvPr>
          <p:cNvSpPr txBox="1"/>
          <p:nvPr/>
        </p:nvSpPr>
        <p:spPr>
          <a:xfrm>
            <a:off x="2484784" y="1296484"/>
            <a:ext cx="200770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2800" dirty="0" smtClean="0">
                <a:solidFill>
                  <a:schemeClr val="accent6"/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rPr>
              <a:t>9 школ</a:t>
            </a:r>
            <a:endParaRPr lang="ru-RU" sz="2800" kern="1200" dirty="0">
              <a:solidFill>
                <a:schemeClr val="accent6"/>
              </a:solidFill>
              <a:latin typeface="Arial" panose="020B0604020202020204" pitchFamily="34" charset="0"/>
              <a:ea typeface="Roboto Regular" pitchFamily="34" charset="-122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7DC2F69-0CDE-8014-07C7-82499B1D3326}"/>
              </a:ext>
            </a:extLst>
          </p:cNvPr>
          <p:cNvSpPr txBox="1"/>
          <p:nvPr/>
        </p:nvSpPr>
        <p:spPr>
          <a:xfrm>
            <a:off x="323527" y="1325977"/>
            <a:ext cx="201239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800" dirty="0" smtClean="0">
                <a:solidFill>
                  <a:schemeClr val="bg1"/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rPr>
              <a:t>&gt; </a:t>
            </a:r>
            <a:r>
              <a:rPr lang="ru-RU" sz="2800" dirty="0">
                <a:solidFill>
                  <a:schemeClr val="bg1"/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rPr>
              <a:t>7</a:t>
            </a:r>
            <a:r>
              <a:rPr lang="ru-RU" sz="2800" kern="1200" dirty="0" smtClean="0">
                <a:solidFill>
                  <a:schemeClr val="bg1"/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rPr>
              <a:t>00 чел.</a:t>
            </a:r>
            <a:endParaRPr lang="ru-RU" sz="2800" kern="1200" dirty="0">
              <a:solidFill>
                <a:schemeClr val="bg1"/>
              </a:solidFill>
              <a:latin typeface="Arial" panose="020B0604020202020204" pitchFamily="34" charset="0"/>
              <a:ea typeface="Roboto Regular" pitchFamily="34" charset="-122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7DC2F69-0CDE-8014-07C7-82499B1D3326}"/>
              </a:ext>
            </a:extLst>
          </p:cNvPr>
          <p:cNvSpPr txBox="1"/>
          <p:nvPr/>
        </p:nvSpPr>
        <p:spPr>
          <a:xfrm>
            <a:off x="2480089" y="3029541"/>
            <a:ext cx="201239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800" dirty="0" smtClean="0">
                <a:solidFill>
                  <a:schemeClr val="bg1"/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rPr>
              <a:t>&gt; </a:t>
            </a:r>
            <a:r>
              <a:rPr lang="ru-RU" sz="2800" dirty="0" smtClean="0">
                <a:solidFill>
                  <a:schemeClr val="bg1"/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rPr>
              <a:t>6</a:t>
            </a:r>
            <a:r>
              <a:rPr lang="ru-RU" sz="2800" kern="1200" dirty="0" smtClean="0">
                <a:solidFill>
                  <a:schemeClr val="bg1"/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rPr>
              <a:t>00 чел.</a:t>
            </a:r>
            <a:endParaRPr lang="ru-RU" sz="2800" kern="1200" dirty="0">
              <a:solidFill>
                <a:schemeClr val="bg1"/>
              </a:solidFill>
              <a:latin typeface="Arial" panose="020B0604020202020204" pitchFamily="34" charset="0"/>
              <a:ea typeface="Roboto Regular" pitchFamily="34" charset="-122"/>
              <a:cs typeface="Arial" panose="020B0604020202020204" pitchFamily="34" charset="0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91" r="20222"/>
          <a:stretch/>
        </p:blipFill>
        <p:spPr>
          <a:xfrm>
            <a:off x="323527" y="2891870"/>
            <a:ext cx="2012097" cy="164067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6218003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азвитие </a:t>
            </a:r>
            <a:r>
              <a:rPr lang="ru-RU" dirty="0"/>
              <a:t>профильной школы (МОБУ СОШ №6 им.</a:t>
            </a:r>
            <a:br>
              <a:rPr lang="ru-RU" dirty="0"/>
            </a:br>
            <a:r>
              <a:rPr lang="ru-RU" dirty="0" err="1"/>
              <a:t>М.А</a:t>
            </a:r>
            <a:r>
              <a:rPr lang="ru-RU" dirty="0"/>
              <a:t>. </a:t>
            </a:r>
            <a:r>
              <a:rPr lang="ru-RU" dirty="0" err="1"/>
              <a:t>Киняшова</a:t>
            </a:r>
            <a:r>
              <a:rPr lang="ru-RU" dirty="0"/>
              <a:t> г. </a:t>
            </a:r>
            <a:r>
              <a:rPr lang="ru-RU" dirty="0" smtClean="0"/>
              <a:t>Благовещенска)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20"/>
          </p:nvPr>
        </p:nvSpPr>
        <p:spPr>
          <a:xfrm>
            <a:off x="5337080" y="1291224"/>
            <a:ext cx="3381789" cy="3816429"/>
          </a:xfrm>
        </p:spPr>
        <p:txBody>
          <a:bodyPr/>
          <a:lstStyle/>
          <a:p>
            <a:pPr marL="171450" indent="-171450" algn="just"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ru-RU" sz="950" dirty="0" smtClean="0"/>
              <a:t>В сентябре 2024 года открыта экспериментальная программа </a:t>
            </a:r>
            <a:r>
              <a:rPr lang="ru-RU" sz="950" dirty="0" err="1" smtClean="0"/>
              <a:t>предпрофильного</a:t>
            </a:r>
            <a:r>
              <a:rPr lang="ru-RU" sz="950" dirty="0" smtClean="0"/>
              <a:t> ориентирования «Эко-химия» для 8-9 классов;</a:t>
            </a:r>
          </a:p>
          <a:p>
            <a:pPr marL="171450" indent="-171450" algn="just"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ru-RU" sz="950" dirty="0"/>
              <a:t>Продолжает действовать программа нефтехимического класса, разработанная совместно с УГНТУ (школа – базовое обучение, УГНТУ – профильная химия, ПОЛИЭФ раз в месяц проводит практикориентированное занятие для детей на предприятии</a:t>
            </a:r>
            <a:r>
              <a:rPr lang="ru-RU" sz="950" dirty="0" smtClean="0"/>
              <a:t>);</a:t>
            </a:r>
          </a:p>
          <a:p>
            <a:pPr marL="171450" indent="-171450" algn="just"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ru-RU" sz="950" dirty="0" smtClean="0"/>
              <a:t>С </a:t>
            </a:r>
            <a:r>
              <a:rPr lang="ru-RU" sz="950" dirty="0"/>
              <a:t>сентября 2024 года класс подключен к образовательной программе СИРИУС (всего в программе шесть классов из Республики </a:t>
            </a:r>
            <a:r>
              <a:rPr lang="ru-RU" sz="950" dirty="0" smtClean="0"/>
              <a:t>Башкортостан;</a:t>
            </a:r>
          </a:p>
          <a:p>
            <a:pPr marL="171450" indent="-171450" algn="just"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ru-RU" sz="950" dirty="0" smtClean="0"/>
              <a:t>10-11 класс </a:t>
            </a:r>
            <a:r>
              <a:rPr lang="ru-RU" sz="950" dirty="0"/>
              <a:t>подключен к корпоративной программе компании "Траектория Джуниор" (двухлетняя подготовка к ЕГЭ</a:t>
            </a:r>
            <a:r>
              <a:rPr lang="ru-RU" sz="950" dirty="0" smtClean="0"/>
              <a:t>);</a:t>
            </a:r>
          </a:p>
          <a:p>
            <a:pPr marL="171450" indent="-171450" algn="just"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ru-RU" sz="950" dirty="0"/>
              <a:t>Ежегодно проходит конкурс «Гранты СИБУРа». Программа направлена на поддержку одаренных детей, подготовку их к поступлению в организации высшего образования на профильные направления и обучении в лицее «</a:t>
            </a:r>
            <a:r>
              <a:rPr lang="ru-RU" sz="950" dirty="0" smtClean="0"/>
              <a:t>СИРИУС;</a:t>
            </a:r>
          </a:p>
          <a:p>
            <a:pPr marL="171450" indent="-171450" algn="just"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ru-RU" sz="950" dirty="0"/>
              <a:t>О</a:t>
            </a:r>
            <a:r>
              <a:rPr lang="ru-RU" sz="950" dirty="0" smtClean="0"/>
              <a:t>тремонтированы </a:t>
            </a:r>
            <a:r>
              <a:rPr lang="ru-RU" sz="950" dirty="0"/>
              <a:t>кабинеты химии, физики, биологии, математики, закуплено необходимое </a:t>
            </a:r>
            <a:r>
              <a:rPr lang="ru-RU" sz="950" dirty="0" smtClean="0"/>
              <a:t>оборудование;</a:t>
            </a:r>
          </a:p>
          <a:p>
            <a:pPr marL="171450" indent="-171450" algn="just"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ru-RU" dirty="0"/>
              <a:t>О</a:t>
            </a:r>
            <a:r>
              <a:rPr lang="ru-RU" dirty="0" smtClean="0"/>
              <a:t>бновлена </a:t>
            </a:r>
            <a:r>
              <a:rPr lang="ru-RU" dirty="0"/>
              <a:t>рекреационная зона – 1200 кв. метров, посвященная роли нефтехимии в жизни каждого.</a:t>
            </a:r>
          </a:p>
          <a:p>
            <a:pPr algn="just">
              <a:buClr>
                <a:schemeClr val="bg1"/>
              </a:buClr>
            </a:pPr>
            <a:endParaRPr lang="ru-RU" sz="950" dirty="0"/>
          </a:p>
          <a:p>
            <a:pPr marL="171450" indent="-171450" algn="just">
              <a:buClr>
                <a:schemeClr val="bg1"/>
              </a:buClr>
              <a:buFont typeface="Wingdings" panose="05000000000000000000" pitchFamily="2" charset="2"/>
              <a:buChar char="ü"/>
            </a:pPr>
            <a:endParaRPr lang="ru-RU" sz="950" dirty="0"/>
          </a:p>
        </p:txBody>
      </p:sp>
      <p:sp>
        <p:nvSpPr>
          <p:cNvPr id="8" name="Нижний колонтитул 3"/>
          <p:cNvSpPr txBox="1">
            <a:spLocks/>
          </p:cNvSpPr>
          <p:nvPr/>
        </p:nvSpPr>
        <p:spPr>
          <a:xfrm>
            <a:off x="647701" y="4731452"/>
            <a:ext cx="7230716" cy="412048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49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8986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479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7972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46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6957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6450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5943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hlinkClick r:id="rId2"/>
              </a:rPr>
              <a:t>https://</a:t>
            </a:r>
            <a:r>
              <a:rPr lang="en-US" sz="1000" dirty="0" smtClean="0">
                <a:hlinkClick r:id="rId2"/>
              </a:rPr>
              <a:t>vk.com/wall-78442975_5691</a:t>
            </a:r>
            <a:r>
              <a:rPr lang="ru-RU" sz="1000" dirty="0" smtClean="0"/>
              <a:t> </a:t>
            </a:r>
          </a:p>
          <a:p>
            <a:r>
              <a:rPr lang="en-US" sz="1000" dirty="0">
                <a:hlinkClick r:id="rId3"/>
              </a:rPr>
              <a:t>https://utv.ru/material/v-blagoveshenske-shkolnikov-vstretili-obnovlennye-koridory-i-klassy/?</a:t>
            </a:r>
            <a:r>
              <a:rPr lang="en-US" sz="1000" dirty="0" smtClean="0">
                <a:hlinkClick r:id="rId3"/>
              </a:rPr>
              <a:t>ysclid=mfgoe88v5l598816873</a:t>
            </a:r>
            <a:r>
              <a:rPr lang="ru-RU" sz="1000" dirty="0" smtClean="0"/>
              <a:t> </a:t>
            </a:r>
            <a:endParaRPr lang="ru-RU" sz="1000" dirty="0"/>
          </a:p>
        </p:txBody>
      </p:sp>
      <p:pic>
        <p:nvPicPr>
          <p:cNvPr id="138242" name="Picture 2" descr="https://sun9-33.userapi.com/s/v1/ig2/hKIjfemkcPA8y0KgzzHSdUHtP9NS3QUXoyvsJru0jP6lF8c-sFQjkPNsS3SvT9Kf0GD88FagriI1YOhJ3wbZjvNM.jpg?quality=95&amp;as=32x32,48x48,72x72,108x108,160x160,240x240,360x360,480x480,540x540,640x640,720x720,1080x1080&amp;from=bu&amp;cs=1080x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360" y="1200998"/>
            <a:ext cx="2152163" cy="2152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244" name="Picture 4" descr="https://sun9-16.userapi.com/s/v1/ig2/99rt2zG9bs4ulEpbj5BiauEspIECf6p4GnFSxuigwxmVhXtrcn0fKNYqlxjzQhG8cAf93EnPrN2x53nomzSzODQr.jpg?quality=95&amp;as=32x32,48x48,72x72,108x108,160x160,240x240,360x360,480x480,540x540,640x640,720x720,1080x1080&amp;from=bu&amp;cs=1080x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2720" y="2433169"/>
            <a:ext cx="2298283" cy="2298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6"/>
          <a:srcRect t="4803" b="25620"/>
          <a:stretch/>
        </p:blipFill>
        <p:spPr>
          <a:xfrm>
            <a:off x="2712720" y="1225827"/>
            <a:ext cx="2298283" cy="119932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0360" y="3411177"/>
            <a:ext cx="2152163" cy="121136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24786952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80A14D1-DFB5-E60E-22BC-7A9FB43566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азвитие </a:t>
            </a:r>
            <a:r>
              <a:rPr lang="ru-RU" dirty="0"/>
              <a:t>Благовещенского многопрофильного профессионального колледжа (БМПК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6A68E039-B8CA-7E32-9D75-D0129C5C82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9026" y="4616973"/>
            <a:ext cx="5311574" cy="541816"/>
          </a:xfrm>
        </p:spPr>
        <p:txBody>
          <a:bodyPr/>
          <a:lstStyle/>
          <a:p>
            <a:r>
              <a:rPr lang="en-US" dirty="0">
                <a:hlinkClick r:id="rId2"/>
              </a:rPr>
              <a:t>https://www.sibur.ru/polief/press-center/professiya-v-karmane-pervyy-shag-k-neftekhimii/?</a:t>
            </a:r>
            <a:r>
              <a:rPr lang="en-US" dirty="0" smtClean="0">
                <a:hlinkClick r:id="rId2"/>
              </a:rPr>
              <a:t>ysclid=mfgo8wld25543719430</a:t>
            </a:r>
            <a:endParaRPr lang="ru-RU" dirty="0" smtClean="0"/>
          </a:p>
          <a:p>
            <a:r>
              <a:rPr lang="en-US" dirty="0" smtClean="0">
                <a:hlinkClick r:id="rId3"/>
              </a:rPr>
              <a:t>https://www.kommersant.ru/doc/6579022?ysclid=mfgo7j8cy662439813</a:t>
            </a:r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29C8B9E8-C473-FEF7-5EDF-95D0D13E3C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53A681A8-E031-F540-40C4-3792456D47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171450" lvl="1" indent="-171450">
              <a:lnSpc>
                <a:spcPct val="100000"/>
              </a:lnSpc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ea typeface="Arial Regular" pitchFamily="34" charset="-122"/>
              </a:rPr>
              <a:t>Столбцы в презентациях помогают структурировать информацию, делая её более удобной для восприятия</a:t>
            </a:r>
          </a:p>
          <a:p>
            <a:pPr marL="171450" lvl="1" indent="-171450">
              <a:lnSpc>
                <a:spcPct val="100000"/>
              </a:lnSpc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ea typeface="Arial Regular" pitchFamily="34" charset="-122"/>
              </a:rPr>
              <a:t>Разделение текста на несколько</a:t>
            </a:r>
            <a:br>
              <a:rPr lang="ru-RU" sz="1000" dirty="0">
                <a:ea typeface="Arial Regular" pitchFamily="34" charset="-122"/>
              </a:rPr>
            </a:br>
            <a:r>
              <a:rPr lang="ru-RU" sz="1000" dirty="0">
                <a:ea typeface="Arial Regular" pitchFamily="34" charset="-122"/>
              </a:rPr>
              <a:t>столбцов позволяет разместить</a:t>
            </a:r>
            <a:br>
              <a:rPr lang="ru-RU" sz="1000" dirty="0">
                <a:ea typeface="Arial Regular" pitchFamily="34" charset="-122"/>
              </a:rPr>
            </a:br>
            <a:r>
              <a:rPr lang="ru-RU" sz="1000" dirty="0">
                <a:ea typeface="Arial Regular" pitchFamily="34" charset="-122"/>
              </a:rPr>
              <a:t>больше данных на одном слайде</a:t>
            </a:r>
            <a:br>
              <a:rPr lang="ru-RU" sz="1000" dirty="0">
                <a:ea typeface="Arial Regular" pitchFamily="34" charset="-122"/>
              </a:rPr>
            </a:br>
            <a:r>
              <a:rPr lang="ru-RU" sz="1000" dirty="0">
                <a:ea typeface="Arial Regular" pitchFamily="34" charset="-122"/>
              </a:rPr>
              <a:t>без перегрузки.</a:t>
            </a:r>
          </a:p>
          <a:p>
            <a:pPr marL="171450" lvl="1" indent="-171450">
              <a:lnSpc>
                <a:spcPct val="100000"/>
              </a:lnSpc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ru-RU" sz="1000" dirty="0">
              <a:ea typeface="Arial Regular" pitchFamily="34" charset="-122"/>
            </a:endParaRP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5E2173A2-0458-D18A-222C-15D09AD8EEF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171450" lvl="1" indent="-171450">
              <a:lnSpc>
                <a:spcPct val="100000"/>
              </a:lnSpc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ea typeface="Arial Regular" pitchFamily="34" charset="-122"/>
              </a:rPr>
              <a:t>Столбцы в презентациях помогают структурировать информацию, делая её более удобной для восприятия</a:t>
            </a:r>
          </a:p>
          <a:p>
            <a:pPr marL="171450" lvl="1" indent="-171450">
              <a:lnSpc>
                <a:spcPct val="100000"/>
              </a:lnSpc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ea typeface="Arial Regular" pitchFamily="34" charset="-122"/>
              </a:rPr>
              <a:t>Разделение текста на несколько</a:t>
            </a:r>
            <a:br>
              <a:rPr lang="ru-RU" sz="1000" dirty="0">
                <a:ea typeface="Arial Regular" pitchFamily="34" charset="-122"/>
              </a:rPr>
            </a:br>
            <a:r>
              <a:rPr lang="ru-RU" sz="1000" dirty="0">
                <a:ea typeface="Arial Regular" pitchFamily="34" charset="-122"/>
              </a:rPr>
              <a:t>столбцов позволяет разместить</a:t>
            </a:r>
            <a:br>
              <a:rPr lang="ru-RU" sz="1000" dirty="0">
                <a:ea typeface="Arial Regular" pitchFamily="34" charset="-122"/>
              </a:rPr>
            </a:br>
            <a:r>
              <a:rPr lang="ru-RU" sz="1000" dirty="0">
                <a:ea typeface="Arial Regular" pitchFamily="34" charset="-122"/>
              </a:rPr>
              <a:t>больше данных на одном слайде</a:t>
            </a:r>
            <a:br>
              <a:rPr lang="ru-RU" sz="1000" dirty="0">
                <a:ea typeface="Arial Regular" pitchFamily="34" charset="-122"/>
              </a:rPr>
            </a:br>
            <a:r>
              <a:rPr lang="ru-RU" sz="1000" dirty="0">
                <a:ea typeface="Arial Regular" pitchFamily="34" charset="-122"/>
              </a:rPr>
              <a:t>без перегрузки.</a:t>
            </a:r>
          </a:p>
          <a:p>
            <a:pPr marL="171450" lvl="1" indent="-171450">
              <a:lnSpc>
                <a:spcPct val="100000"/>
              </a:lnSpc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ru-RU" sz="1000" dirty="0">
              <a:ea typeface="Arial Regular" pitchFamily="34" charset="-122"/>
            </a:endParaRPr>
          </a:p>
        </p:txBody>
      </p:sp>
      <p:sp>
        <p:nvSpPr>
          <p:cNvPr id="7" name="Текст 6">
            <a:extLst>
              <a:ext uri="{FF2B5EF4-FFF2-40B4-BE49-F238E27FC236}">
                <a16:creationId xmlns:a16="http://schemas.microsoft.com/office/drawing/2014/main" id="{798BCD4F-591F-B18B-856F-D79FE95012E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171450" lvl="1" indent="-171450">
              <a:lnSpc>
                <a:spcPct val="100000"/>
              </a:lnSpc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ea typeface="Arial Regular" pitchFamily="34" charset="-122"/>
              </a:rPr>
              <a:t>Столбцы в презентациях помогают структурировать информацию, делая её более удобной для восприятия</a:t>
            </a:r>
          </a:p>
          <a:p>
            <a:pPr marL="171450" lvl="1" indent="-171450">
              <a:lnSpc>
                <a:spcPct val="100000"/>
              </a:lnSpc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ea typeface="Arial Regular" pitchFamily="34" charset="-122"/>
              </a:rPr>
              <a:t>Разделение текста на несколько</a:t>
            </a:r>
            <a:br>
              <a:rPr lang="ru-RU" sz="1000" dirty="0">
                <a:ea typeface="Arial Regular" pitchFamily="34" charset="-122"/>
              </a:rPr>
            </a:br>
            <a:r>
              <a:rPr lang="ru-RU" sz="1000" dirty="0">
                <a:ea typeface="Arial Regular" pitchFamily="34" charset="-122"/>
              </a:rPr>
              <a:t>столбцов позволяет разместить</a:t>
            </a:r>
            <a:br>
              <a:rPr lang="ru-RU" sz="1000" dirty="0">
                <a:ea typeface="Arial Regular" pitchFamily="34" charset="-122"/>
              </a:rPr>
            </a:br>
            <a:r>
              <a:rPr lang="ru-RU" sz="1000" dirty="0">
                <a:ea typeface="Arial Regular" pitchFamily="34" charset="-122"/>
              </a:rPr>
              <a:t>больше данных на одном слайде</a:t>
            </a:r>
            <a:br>
              <a:rPr lang="ru-RU" sz="1000" dirty="0">
                <a:ea typeface="Arial Regular" pitchFamily="34" charset="-122"/>
              </a:rPr>
            </a:br>
            <a:r>
              <a:rPr lang="ru-RU" sz="1000" dirty="0">
                <a:ea typeface="Arial Regular" pitchFamily="34" charset="-122"/>
              </a:rPr>
              <a:t>без перегрузки.</a:t>
            </a:r>
          </a:p>
          <a:p>
            <a:pPr marL="171450" lvl="1" indent="-171450">
              <a:lnSpc>
                <a:spcPct val="100000"/>
              </a:lnSpc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ru-RU" sz="1000" dirty="0">
              <a:ea typeface="Arial Regular" pitchFamily="34" charset="-122"/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96F1F643-AD24-3B5F-95BB-EFBFCE88DE2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5264" y="1928780"/>
            <a:ext cx="2151063" cy="307777"/>
          </a:xfrm>
        </p:spPr>
        <p:txBody>
          <a:bodyPr/>
          <a:lstStyle/>
          <a:p>
            <a:pPr lvl="1">
              <a:lnSpc>
                <a:spcPct val="100000"/>
              </a:lnSpc>
              <a:buClr>
                <a:schemeClr val="tx2"/>
              </a:buClr>
            </a:pPr>
            <a:r>
              <a:rPr lang="ru-RU" sz="1000" dirty="0">
                <a:solidFill>
                  <a:schemeClr val="bg1"/>
                </a:solidFill>
                <a:ea typeface="Arial Regular" pitchFamily="34" charset="-122"/>
              </a:rPr>
              <a:t>длинный подзаголовок</a:t>
            </a:r>
            <a:br>
              <a:rPr lang="ru-RU" sz="1000" dirty="0">
                <a:solidFill>
                  <a:schemeClr val="bg1"/>
                </a:solidFill>
                <a:ea typeface="Arial Regular" pitchFamily="34" charset="-122"/>
              </a:rPr>
            </a:br>
            <a:r>
              <a:rPr lang="ru-RU" sz="1000" dirty="0">
                <a:solidFill>
                  <a:schemeClr val="bg1"/>
                </a:solidFill>
                <a:ea typeface="Arial Regular" pitchFamily="34" charset="-122"/>
              </a:rPr>
              <a:t>2 уровня в 2 строки</a:t>
            </a:r>
          </a:p>
        </p:txBody>
      </p:sp>
      <p:sp>
        <p:nvSpPr>
          <p:cNvPr id="9" name="Текст 8">
            <a:extLst>
              <a:ext uri="{FF2B5EF4-FFF2-40B4-BE49-F238E27FC236}">
                <a16:creationId xmlns:a16="http://schemas.microsoft.com/office/drawing/2014/main" id="{C744A899-7C46-5BA8-53A2-7EDE586B8D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580150" y="1928780"/>
            <a:ext cx="2151063" cy="461665"/>
          </a:xfrm>
        </p:spPr>
        <p:txBody>
          <a:bodyPr/>
          <a:lstStyle/>
          <a:p>
            <a:pPr lvl="1">
              <a:lnSpc>
                <a:spcPct val="100000"/>
              </a:lnSpc>
              <a:buClr>
                <a:schemeClr val="tx2"/>
              </a:buClr>
            </a:pPr>
            <a:r>
              <a:rPr lang="ru-RU" sz="1000" dirty="0">
                <a:solidFill>
                  <a:schemeClr val="bg1"/>
                </a:solidFill>
                <a:ea typeface="Arial Regular" pitchFamily="34" charset="-122"/>
              </a:rPr>
              <a:t>длинный подзаголовок</a:t>
            </a:r>
            <a:br>
              <a:rPr lang="ru-RU" sz="1000" dirty="0">
                <a:solidFill>
                  <a:schemeClr val="bg1"/>
                </a:solidFill>
                <a:ea typeface="Arial Regular" pitchFamily="34" charset="-122"/>
              </a:rPr>
            </a:br>
            <a:r>
              <a:rPr lang="ru-RU" sz="1000" dirty="0">
                <a:solidFill>
                  <a:schemeClr val="bg1"/>
                </a:solidFill>
                <a:ea typeface="Arial Regular" pitchFamily="34" charset="-122"/>
              </a:rPr>
              <a:t>2 уровня в 2 строки</a:t>
            </a:r>
          </a:p>
          <a:p>
            <a:pPr lvl="1">
              <a:lnSpc>
                <a:spcPct val="100000"/>
              </a:lnSpc>
              <a:buClr>
                <a:schemeClr val="tx2"/>
              </a:buClr>
            </a:pPr>
            <a:endParaRPr lang="ru-RU" sz="1000" dirty="0">
              <a:solidFill>
                <a:schemeClr val="bg1"/>
              </a:solidFill>
              <a:ea typeface="Arial Regular" pitchFamily="34" charset="-122"/>
            </a:endParaRPr>
          </a:p>
        </p:txBody>
      </p:sp>
      <p:sp>
        <p:nvSpPr>
          <p:cNvPr id="56" name="Текст 4">
            <a:extLst>
              <a:ext uri="{FF2B5EF4-FFF2-40B4-BE49-F238E27FC236}">
                <a16:creationId xmlns:a16="http://schemas.microsoft.com/office/drawing/2014/main" id="{119CD176-C7D5-FC86-F571-FC987D1CE306}"/>
              </a:ext>
            </a:extLst>
          </p:cNvPr>
          <p:cNvSpPr txBox="1">
            <a:spLocks/>
          </p:cNvSpPr>
          <p:nvPr/>
        </p:nvSpPr>
        <p:spPr>
          <a:xfrm>
            <a:off x="646042" y="1905414"/>
            <a:ext cx="2268000" cy="420343"/>
          </a:xfrm>
          <a:prstGeom prst="rect">
            <a:avLst/>
          </a:prstGeom>
        </p:spPr>
        <p:txBody>
          <a:bodyPr lIns="0"/>
          <a:lstStyle>
            <a:lvl1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  <a:defRPr lang="ru-RU" sz="1875" b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  <a:lvl2pPr marL="0" indent="0" algn="l" defTabSz="778986" rtl="0" eaLnBrk="1" fontAlgn="base" latinLnBrk="0" hangingPunct="1">
              <a:lnSpc>
                <a:spcPts val="148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38" b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2pPr>
            <a:lvl3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125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3pPr>
            <a:lvl4pPr marL="0" indent="0" algn="l" defTabSz="778986" rtl="0" eaLnBrk="1" fontAlgn="base" latinLnBrk="0" hangingPunct="1">
              <a:lnSpc>
                <a:spcPts val="112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4pPr>
            <a:lvl5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875" kern="1200" dirty="0">
                <a:solidFill>
                  <a:srgbClr val="003D4C">
                    <a:alpha val="100000"/>
                  </a:srgbClr>
                </a:solidFill>
                <a:latin typeface="Roboto Regular" pitchFamily="34" charset="0"/>
                <a:ea typeface="Roboto Regular" pitchFamily="34" charset="-122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lnSpc>
                <a:spcPct val="100000"/>
              </a:lnSpc>
              <a:buClr>
                <a:schemeClr val="tx2"/>
              </a:buClr>
            </a:pPr>
            <a:endParaRPr lang="ru-RU" sz="800" dirty="0">
              <a:solidFill>
                <a:schemeClr val="bg1"/>
              </a:solidFill>
              <a:ea typeface="Arial Regular" pitchFamily="34" charset="-122"/>
            </a:endParaRPr>
          </a:p>
        </p:txBody>
      </p:sp>
      <p:sp>
        <p:nvSpPr>
          <p:cNvPr id="12" name="Текст 4">
            <a:extLst>
              <a:ext uri="{FF2B5EF4-FFF2-40B4-BE49-F238E27FC236}">
                <a16:creationId xmlns:a16="http://schemas.microsoft.com/office/drawing/2014/main" id="{1458BD39-4B36-B6E3-97B9-3574A443BEC2}"/>
              </a:ext>
            </a:extLst>
          </p:cNvPr>
          <p:cNvSpPr txBox="1">
            <a:spLocks/>
          </p:cNvSpPr>
          <p:nvPr/>
        </p:nvSpPr>
        <p:spPr>
          <a:xfrm>
            <a:off x="6013425" y="4498848"/>
            <a:ext cx="2235815" cy="1036446"/>
          </a:xfrm>
          <a:prstGeom prst="rect">
            <a:avLst/>
          </a:prstGeom>
        </p:spPr>
        <p:txBody>
          <a:bodyPr lIns="0"/>
          <a:lstStyle>
            <a:lvl1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  <a:defRPr lang="ru-RU" sz="1875" b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  <a:lvl2pPr marL="0" indent="0" algn="l" defTabSz="778986" rtl="0" eaLnBrk="1" fontAlgn="base" latinLnBrk="0" hangingPunct="1">
              <a:lnSpc>
                <a:spcPts val="148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38" b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2pPr>
            <a:lvl3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125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3pPr>
            <a:lvl4pPr marL="0" indent="0" algn="l" defTabSz="778986" rtl="0" eaLnBrk="1" fontAlgn="base" latinLnBrk="0" hangingPunct="1">
              <a:lnSpc>
                <a:spcPts val="112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4pPr>
            <a:lvl5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875" kern="1200" dirty="0">
                <a:solidFill>
                  <a:srgbClr val="003D4C">
                    <a:alpha val="100000"/>
                  </a:srgbClr>
                </a:solidFill>
                <a:latin typeface="Roboto Regular" pitchFamily="34" charset="0"/>
                <a:ea typeface="Roboto Regular" pitchFamily="34" charset="-122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171450" lvl="1" indent="-171450">
              <a:lnSpc>
                <a:spcPct val="100000"/>
              </a:lnSpc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ru-RU" sz="800" dirty="0">
              <a:ea typeface="Arial Regular" pitchFamily="34" charset="-122"/>
            </a:endParaRPr>
          </a:p>
        </p:txBody>
      </p:sp>
      <p:sp>
        <p:nvSpPr>
          <p:cNvPr id="13" name="Текст 10">
            <a:extLst>
              <a:ext uri="{FF2B5EF4-FFF2-40B4-BE49-F238E27FC236}">
                <a16:creationId xmlns:a16="http://schemas.microsoft.com/office/drawing/2014/main" id="{22CB5252-E372-E339-FE44-ABFFEC18408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465581" y="1928781"/>
            <a:ext cx="2151063" cy="461665"/>
          </a:xfrm>
        </p:spPr>
        <p:txBody>
          <a:bodyPr/>
          <a:lstStyle/>
          <a:p>
            <a:r>
              <a:rPr lang="ru-RU" dirty="0"/>
              <a:t>д</a:t>
            </a:r>
            <a:r>
              <a:rPr lang="ru-RU" sz="1000" dirty="0"/>
              <a:t>линный подзаголовок</a:t>
            </a:r>
            <a:br>
              <a:rPr lang="ru-RU" sz="1000" dirty="0"/>
            </a:br>
            <a:r>
              <a:rPr lang="ru-RU" sz="1000" dirty="0"/>
              <a:t>2 уровня в 2 строки</a:t>
            </a:r>
          </a:p>
          <a:p>
            <a:endParaRPr lang="ru-RU" sz="1000" dirty="0"/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297180" y="1023937"/>
            <a:ext cx="8694420" cy="3555683"/>
          </a:xfrm>
          <a:prstGeom prst="rect">
            <a:avLst/>
          </a:prstGeom>
          <a:solidFill>
            <a:srgbClr val="F2FBF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 bwMode="auto">
          <a:xfrm>
            <a:off x="449580" y="1158240"/>
            <a:ext cx="4732020" cy="419819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7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Образовательные программы:</a:t>
            </a:r>
          </a:p>
        </p:txBody>
      </p:sp>
      <p:sp>
        <p:nvSpPr>
          <p:cNvPr id="19" name="Скругленный прямоугольник 18"/>
          <p:cNvSpPr/>
          <p:nvPr/>
        </p:nvSpPr>
        <p:spPr bwMode="auto">
          <a:xfrm>
            <a:off x="5326380" y="1158240"/>
            <a:ext cx="3749040" cy="419819"/>
          </a:xfrm>
          <a:prstGeom prst="roundRect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700" b="1" dirty="0" smtClean="0">
                <a:solidFill>
                  <a:schemeClr val="bg1"/>
                </a:solidFill>
                <a:latin typeface="Arial" charset="0"/>
              </a:rPr>
              <a:t>Инфраструктурные изменения:</a:t>
            </a:r>
            <a:endParaRPr kumimoji="0" lang="ru-RU" sz="17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49580" y="1708150"/>
            <a:ext cx="4838700" cy="29238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000" dirty="0" smtClean="0"/>
              <a:t>Преподаватели </a:t>
            </a:r>
            <a:r>
              <a:rPr lang="ru-RU" sz="1000" dirty="0"/>
              <a:t>прошли стажировку на всех участках ПОЛИЭФ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000" dirty="0" smtClean="0"/>
              <a:t>В </a:t>
            </a:r>
            <a:r>
              <a:rPr lang="ru-RU" sz="1000" dirty="0"/>
              <a:t>программы интегрирована профессия «Оператор </a:t>
            </a:r>
            <a:r>
              <a:rPr lang="ru-RU" sz="1000" dirty="0" smtClean="0"/>
              <a:t>ТУ, 5р.»</a:t>
            </a:r>
            <a:endParaRPr lang="ru-RU" sz="1000" dirty="0"/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000" dirty="0" smtClean="0"/>
              <a:t>Теория — </a:t>
            </a:r>
            <a:r>
              <a:rPr lang="ru-RU" sz="1000" dirty="0"/>
              <a:t>в колледже → Практика — на компьютерных тренажёрах завода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000" dirty="0" smtClean="0"/>
              <a:t>21 </a:t>
            </a:r>
            <a:r>
              <a:rPr lang="ru-RU" sz="1000" dirty="0"/>
              <a:t>эксперт ПОЛИЭФ ведут узкопрофильные занятия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000" dirty="0" smtClean="0"/>
              <a:t>Сквозные </a:t>
            </a:r>
            <a:r>
              <a:rPr lang="ru-RU" sz="1000" dirty="0"/>
              <a:t>экскурсии ПОЛИЭФ → БМПК (с 2024)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000" dirty="0" smtClean="0"/>
              <a:t>Погружение </a:t>
            </a:r>
            <a:r>
              <a:rPr lang="ru-RU" sz="1000" dirty="0"/>
              <a:t>в профессию: 1 час на рабочем месте у каждого специалиста (младшие курсы)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000" dirty="0" smtClean="0"/>
              <a:t>Оплачиваемые </a:t>
            </a:r>
            <a:r>
              <a:rPr lang="ru-RU" sz="1000" dirty="0"/>
              <a:t>практики с возможностью трудоустройства + защита в комиссии предприятия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000" dirty="0" smtClean="0"/>
              <a:t>Проект </a:t>
            </a:r>
            <a:r>
              <a:rPr lang="ru-RU" sz="1000" dirty="0"/>
              <a:t>«Первая профессия»: получение профессии </a:t>
            </a:r>
            <a:r>
              <a:rPr lang="ru-RU" sz="1000" dirty="0" smtClean="0"/>
              <a:t>Оператор технологических установок, 2 разряда </a:t>
            </a:r>
            <a:r>
              <a:rPr lang="ru-RU" sz="1000" dirty="0"/>
              <a:t>учениками 9-х классов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000" dirty="0" smtClean="0"/>
              <a:t>Эксперты </a:t>
            </a:r>
            <a:r>
              <a:rPr lang="ru-RU" sz="1000" dirty="0"/>
              <a:t>ПОЛИЭФ проводят выпускные и </a:t>
            </a:r>
            <a:r>
              <a:rPr lang="ru-RU" sz="1000" dirty="0" err="1" smtClean="0"/>
              <a:t>демо</a:t>
            </a:r>
            <a:r>
              <a:rPr lang="ru-RU" sz="1000" dirty="0" smtClean="0"/>
              <a:t>-экзамены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000" dirty="0" smtClean="0"/>
              <a:t>Студенты </a:t>
            </a:r>
            <a:r>
              <a:rPr lang="ru-RU" sz="1000" dirty="0"/>
              <a:t>участвуют в конкурсе </a:t>
            </a:r>
            <a:r>
              <a:rPr lang="ru-RU" sz="1000" dirty="0" err="1"/>
              <a:t>профмастерства</a:t>
            </a:r>
            <a:r>
              <a:rPr lang="ru-RU" sz="1000" dirty="0"/>
              <a:t> (Аппаратчик, Лаборант </a:t>
            </a:r>
            <a:r>
              <a:rPr lang="ru-RU" sz="1000" dirty="0" err="1" smtClean="0"/>
              <a:t>хим.анализа</a:t>
            </a:r>
            <a:r>
              <a:rPr lang="ru-RU" sz="1000" dirty="0"/>
              <a:t>)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000" dirty="0" smtClean="0"/>
              <a:t>Участие </a:t>
            </a:r>
            <a:r>
              <a:rPr lang="ru-RU" sz="1000" dirty="0"/>
              <a:t>в форуме молодых специалистов + запуск Студенческой лиги (с октября 2025)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000" dirty="0" smtClean="0"/>
              <a:t>Увеличение контрольных цифр приема:</a:t>
            </a:r>
            <a:endParaRPr lang="ru-RU" sz="1000" dirty="0"/>
          </a:p>
          <a:p>
            <a:pPr lvl="1"/>
            <a:r>
              <a:rPr lang="ru-RU" sz="1000" i="1" dirty="0"/>
              <a:t>«Химическая технология»</a:t>
            </a:r>
            <a:r>
              <a:rPr lang="ru-RU" sz="1000" dirty="0"/>
              <a:t>: +25 бюджетных мест (с 01.09.2025)</a:t>
            </a:r>
          </a:p>
          <a:p>
            <a:pPr lvl="1"/>
            <a:r>
              <a:rPr lang="ru-RU" sz="1000" i="1" dirty="0"/>
              <a:t>«Электромонтер КИП»</a:t>
            </a:r>
            <a:r>
              <a:rPr lang="ru-RU" sz="1000" dirty="0"/>
              <a:t>: ввод с 01.09.2026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356860" y="1755276"/>
            <a:ext cx="3657600" cy="16927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000" dirty="0" smtClean="0"/>
              <a:t>Отремонтирован </a:t>
            </a:r>
            <a:r>
              <a:rPr lang="ru-RU" sz="1000" dirty="0"/>
              <a:t>этаж СИБУРа: 3 кабинета химии + кабинет </a:t>
            </a:r>
            <a:r>
              <a:rPr lang="ru-RU" sz="1000" dirty="0" err="1" smtClean="0"/>
              <a:t>цифровизации</a:t>
            </a:r>
            <a:r>
              <a:rPr lang="ru-RU" sz="1000" dirty="0" smtClean="0"/>
              <a:t>. Отремонтирован коридор и холл 1 этажа, установлена бренд-зона СИБУРа;</a:t>
            </a:r>
            <a:endParaRPr lang="ru-RU" sz="1000" dirty="0"/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000" dirty="0" smtClean="0"/>
              <a:t>Полная </a:t>
            </a:r>
            <a:r>
              <a:rPr lang="ru-RU" sz="1000" dirty="0"/>
              <a:t>реконструкция </a:t>
            </a:r>
            <a:r>
              <a:rPr lang="ru-RU" sz="1000" dirty="0" err="1" smtClean="0"/>
              <a:t>хим.лаборатории</a:t>
            </a:r>
            <a:r>
              <a:rPr lang="ru-RU" sz="1000" dirty="0" smtClean="0"/>
              <a:t> </a:t>
            </a:r>
            <a:r>
              <a:rPr lang="ru-RU" sz="1000" dirty="0"/>
              <a:t>— современные </a:t>
            </a:r>
            <a:r>
              <a:rPr lang="ru-RU" sz="1000" dirty="0" smtClean="0"/>
              <a:t>стандарты;</a:t>
            </a:r>
            <a:endParaRPr lang="ru-RU" sz="1000" dirty="0"/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000" dirty="0" smtClean="0"/>
              <a:t>Все </a:t>
            </a:r>
            <a:r>
              <a:rPr lang="ru-RU" sz="1000" dirty="0"/>
              <a:t>кабинеты оснащены современным </a:t>
            </a:r>
            <a:r>
              <a:rPr lang="ru-RU" sz="1000" dirty="0" smtClean="0"/>
              <a:t>оборудованием;</a:t>
            </a:r>
            <a:endParaRPr lang="ru-RU" sz="1000" dirty="0"/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000" dirty="0" smtClean="0"/>
              <a:t>Обновлены </a:t>
            </a:r>
            <a:r>
              <a:rPr lang="ru-RU" sz="1000" dirty="0"/>
              <a:t>рекреационные </a:t>
            </a:r>
            <a:r>
              <a:rPr lang="ru-RU" sz="1000" dirty="0" smtClean="0"/>
              <a:t>зоны;</a:t>
            </a:r>
            <a:endParaRPr lang="ru-RU" sz="1000" dirty="0"/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000" dirty="0" smtClean="0"/>
              <a:t>Привлечено </a:t>
            </a:r>
            <a:r>
              <a:rPr lang="ru-RU" sz="1000" dirty="0"/>
              <a:t>30 млн ₽ регионального гранта </a:t>
            </a:r>
            <a:r>
              <a:rPr lang="ru-RU" sz="1000" dirty="0" smtClean="0"/>
              <a:t>с поддержкой  СИБУР</a:t>
            </a:r>
            <a:endParaRPr lang="ru-RU" sz="1000" dirty="0"/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000" dirty="0" smtClean="0"/>
              <a:t>Благотворительная </a:t>
            </a:r>
            <a:r>
              <a:rPr lang="ru-RU" sz="1000" dirty="0"/>
              <a:t>передача оборудования: хроматограф, посуда, аналитические </a:t>
            </a:r>
            <a:r>
              <a:rPr lang="ru-RU" sz="1000" dirty="0" smtClean="0"/>
              <a:t>приборы и прочее</a:t>
            </a:r>
            <a:endParaRPr lang="ru-RU" sz="1000" dirty="0" smtClean="0">
              <a:solidFill>
                <a:schemeClr val="tx2"/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4"/>
          <a:srcRect t="22853" b="4496"/>
          <a:stretch/>
        </p:blipFill>
        <p:spPr>
          <a:xfrm>
            <a:off x="5453016" y="3568167"/>
            <a:ext cx="3561444" cy="145542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4279754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Заголовок 12">
            <a:extLst>
              <a:ext uri="{FF2B5EF4-FFF2-40B4-BE49-F238E27FC236}">
                <a16:creationId xmlns:a16="http://schemas.microsoft.com/office/drawing/2014/main" id="{CBACDFFB-6EC1-61B2-FD79-3F9A891D22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артнёрство СИБУРа с </a:t>
            </a:r>
            <a:r>
              <a:rPr lang="ru-RU" dirty="0" smtClean="0"/>
              <a:t>ВУЗами: </a:t>
            </a:r>
            <a:r>
              <a:rPr lang="ru-RU" dirty="0"/>
              <a:t>Полноценная образовательная экосистема</a:t>
            </a: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CA980D64-BC7F-BFBE-394C-355796F2A00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99666" y="1267132"/>
            <a:ext cx="2952750" cy="3447098"/>
          </a:xfrm>
        </p:spPr>
        <p:txBody>
          <a:bodyPr/>
          <a:lstStyle/>
          <a:p>
            <a:pPr lvl="1">
              <a:lnSpc>
                <a:spcPct val="100000"/>
              </a:lnSpc>
              <a:spcAft>
                <a:spcPts val="600"/>
              </a:spcAft>
              <a:buClr>
                <a:schemeClr val="tx2"/>
              </a:buClr>
            </a:pPr>
            <a:r>
              <a:rPr lang="ru-RU" sz="1200" b="1" dirty="0" smtClean="0">
                <a:solidFill>
                  <a:schemeClr val="bg1"/>
                </a:solidFill>
                <a:ea typeface="Arial Regular" pitchFamily="34" charset="-122"/>
              </a:rPr>
              <a:t>Для всех ВУЗов:</a:t>
            </a:r>
          </a:p>
          <a:p>
            <a:pPr marL="171450" lvl="1" indent="-171450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ru-RU" sz="1000" dirty="0" smtClean="0">
                <a:solidFill>
                  <a:schemeClr val="bg1"/>
                </a:solidFill>
                <a:ea typeface="Arial Regular" pitchFamily="34" charset="-122"/>
              </a:rPr>
              <a:t>Оплачиваемая практика на производстве;</a:t>
            </a:r>
          </a:p>
          <a:p>
            <a:pPr marL="171450" lvl="1" indent="-171450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ru-RU" sz="1000" dirty="0" smtClean="0">
                <a:solidFill>
                  <a:schemeClr val="bg1"/>
                </a:solidFill>
                <a:ea typeface="Arial Regular" pitchFamily="34" charset="-122"/>
              </a:rPr>
              <a:t>Оплачиваемая стажировка от 6 месяцев с трудоустройством;</a:t>
            </a:r>
          </a:p>
          <a:p>
            <a:pPr marL="171450" lvl="1" indent="-171450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ru-RU" sz="1000" dirty="0" smtClean="0">
                <a:solidFill>
                  <a:schemeClr val="bg1"/>
                </a:solidFill>
                <a:ea typeface="Arial Regular" pitchFamily="34" charset="-122"/>
              </a:rPr>
              <a:t>Возможность участия в чемпионатах </a:t>
            </a:r>
            <a:r>
              <a:rPr lang="en-US" sz="1000" dirty="0" smtClean="0">
                <a:solidFill>
                  <a:schemeClr val="bg1"/>
                </a:solidFill>
                <a:ea typeface="Arial Regular" pitchFamily="34" charset="-122"/>
              </a:rPr>
              <a:t>Case-in</a:t>
            </a:r>
            <a:r>
              <a:rPr lang="ru-RU" sz="1000" dirty="0" smtClean="0">
                <a:solidFill>
                  <a:schemeClr val="bg1"/>
                </a:solidFill>
                <a:ea typeface="Arial Regular" pitchFamily="34" charset="-122"/>
              </a:rPr>
              <a:t> и Форумах молодых специалистов, студенческая лига;</a:t>
            </a:r>
          </a:p>
          <a:p>
            <a:pPr marL="171450" lvl="1" indent="-171450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ru-RU" sz="1000" dirty="0" smtClean="0">
                <a:solidFill>
                  <a:schemeClr val="bg1"/>
                </a:solidFill>
                <a:ea typeface="Arial Regular" pitchFamily="34" charset="-122"/>
              </a:rPr>
              <a:t>Профильные экскурсии на предприятие.</a:t>
            </a:r>
          </a:p>
          <a:p>
            <a:pPr marL="171450" lvl="1" indent="-171450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ü"/>
            </a:pPr>
            <a:endParaRPr lang="ru-RU" sz="1000" dirty="0">
              <a:solidFill>
                <a:schemeClr val="bg1"/>
              </a:solidFill>
              <a:ea typeface="Arial Regular" pitchFamily="34" charset="-122"/>
            </a:endParaRPr>
          </a:p>
          <a:p>
            <a:pPr lvl="1">
              <a:lnSpc>
                <a:spcPct val="100000"/>
              </a:lnSpc>
              <a:spcAft>
                <a:spcPts val="600"/>
              </a:spcAft>
              <a:buClr>
                <a:schemeClr val="bg1"/>
              </a:buClr>
            </a:pPr>
            <a:r>
              <a:rPr lang="ru-RU" sz="1200" b="1" dirty="0" smtClean="0">
                <a:solidFill>
                  <a:schemeClr val="bg1"/>
                </a:solidFill>
                <a:ea typeface="Arial Regular" pitchFamily="34" charset="-122"/>
              </a:rPr>
              <a:t>Взаимодействие с УГНТУ:</a:t>
            </a:r>
          </a:p>
          <a:p>
            <a:pPr marL="171450" lvl="1" indent="-171450"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ru-RU" sz="1000" dirty="0" smtClean="0">
                <a:solidFill>
                  <a:schemeClr val="bg1"/>
                </a:solidFill>
                <a:ea typeface="Arial Regular" pitchFamily="34" charset="-122"/>
              </a:rPr>
              <a:t>Ежегодно проводятся Дни СИБУРа – мастер-классы, презентация карьерных </a:t>
            </a:r>
            <a:r>
              <a:rPr lang="ru-RU" sz="1000" dirty="0" err="1" smtClean="0">
                <a:solidFill>
                  <a:schemeClr val="bg1"/>
                </a:solidFill>
                <a:ea typeface="Arial Regular" pitchFamily="34" charset="-122"/>
              </a:rPr>
              <a:t>тракеторий</a:t>
            </a:r>
            <a:r>
              <a:rPr lang="ru-RU" sz="1000" dirty="0" smtClean="0">
                <a:solidFill>
                  <a:schemeClr val="bg1"/>
                </a:solidFill>
                <a:ea typeface="Arial Regular" pitchFamily="34" charset="-122"/>
              </a:rPr>
              <a:t>, погружение в нефтехимию;</a:t>
            </a:r>
          </a:p>
          <a:p>
            <a:pPr marL="171450" lvl="1" indent="-171450"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ru-RU" sz="1000" dirty="0" smtClean="0">
                <a:solidFill>
                  <a:schemeClr val="bg1"/>
                </a:solidFill>
                <a:ea typeface="Arial Regular" pitchFamily="34" charset="-122"/>
              </a:rPr>
              <a:t>Сотрудники ПОЛИЭФ </a:t>
            </a:r>
            <a:r>
              <a:rPr lang="ru-RU" sz="1000" dirty="0">
                <a:solidFill>
                  <a:schemeClr val="bg1"/>
                </a:solidFill>
                <a:ea typeface="Arial Regular" pitchFamily="34" charset="-122"/>
              </a:rPr>
              <a:t>регулярно читают профильные лекции </a:t>
            </a:r>
            <a:r>
              <a:rPr lang="ru-RU" sz="1000" dirty="0" smtClean="0">
                <a:solidFill>
                  <a:schemeClr val="bg1"/>
                </a:solidFill>
                <a:ea typeface="Arial Regular" pitchFamily="34" charset="-122"/>
              </a:rPr>
              <a:t>студентам УГНТУ;</a:t>
            </a:r>
            <a:endParaRPr lang="ru-RU" sz="1000" dirty="0">
              <a:solidFill>
                <a:schemeClr val="bg1"/>
              </a:solidFill>
              <a:ea typeface="Arial Regular" pitchFamily="34" charset="-122"/>
            </a:endParaRPr>
          </a:p>
          <a:p>
            <a:pPr marL="171450" lvl="1" indent="-171450"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ru-RU" sz="1000" dirty="0" smtClean="0">
                <a:solidFill>
                  <a:schemeClr val="bg1"/>
                </a:solidFill>
                <a:ea typeface="Arial Regular" pitchFamily="34" charset="-122"/>
              </a:rPr>
              <a:t>Создана корпоративная </a:t>
            </a:r>
            <a:r>
              <a:rPr lang="ru-RU" sz="1000" dirty="0">
                <a:solidFill>
                  <a:schemeClr val="bg1"/>
                </a:solidFill>
                <a:ea typeface="Arial Regular" pitchFamily="34" charset="-122"/>
              </a:rPr>
              <a:t>группа при УГНТУ (с 2025) - </a:t>
            </a:r>
            <a:r>
              <a:rPr lang="ru-RU" sz="1000" dirty="0" smtClean="0">
                <a:solidFill>
                  <a:schemeClr val="bg1"/>
                </a:solidFill>
                <a:ea typeface="Arial Regular" pitchFamily="34" charset="-122"/>
              </a:rPr>
              <a:t>высшее </a:t>
            </a:r>
            <a:r>
              <a:rPr lang="ru-RU" sz="1000" dirty="0">
                <a:solidFill>
                  <a:schemeClr val="bg1"/>
                </a:solidFill>
                <a:ea typeface="Arial Regular" pitchFamily="34" charset="-122"/>
              </a:rPr>
              <a:t>образование для выпускников </a:t>
            </a:r>
            <a:r>
              <a:rPr lang="ru-RU" sz="1000" dirty="0" err="1">
                <a:solidFill>
                  <a:schemeClr val="bg1"/>
                </a:solidFill>
                <a:ea typeface="Arial Regular" pitchFamily="34" charset="-122"/>
              </a:rPr>
              <a:t>СПО</a:t>
            </a:r>
            <a:r>
              <a:rPr lang="ru-RU" sz="1000" dirty="0">
                <a:solidFill>
                  <a:schemeClr val="bg1"/>
                </a:solidFill>
                <a:ea typeface="Arial Regular" pitchFamily="34" charset="-122"/>
              </a:rPr>
              <a:t>, уже работающих на </a:t>
            </a:r>
            <a:r>
              <a:rPr lang="ru-RU" sz="1000" dirty="0" err="1" smtClean="0">
                <a:solidFill>
                  <a:schemeClr val="bg1"/>
                </a:solidFill>
                <a:ea typeface="Arial Regular" pitchFamily="34" charset="-122"/>
              </a:rPr>
              <a:t>СИБУРе</a:t>
            </a:r>
            <a:r>
              <a:rPr lang="ru-RU" sz="1000" dirty="0" smtClean="0">
                <a:solidFill>
                  <a:schemeClr val="bg1"/>
                </a:solidFill>
                <a:ea typeface="Arial Regular" pitchFamily="34" charset="-122"/>
              </a:rPr>
              <a:t>.</a:t>
            </a:r>
            <a:endParaRPr lang="ru-RU" sz="1000" dirty="0">
              <a:solidFill>
                <a:schemeClr val="bg1"/>
              </a:solidFill>
              <a:ea typeface="Arial Regular" pitchFamily="34" charset="-122"/>
            </a:endParaRPr>
          </a:p>
          <a:p>
            <a:pPr lvl="1">
              <a:buClr>
                <a:schemeClr val="bg1"/>
              </a:buClr>
            </a:pPr>
            <a:r>
              <a:rPr lang="ru-RU" sz="1000" dirty="0">
                <a:solidFill>
                  <a:schemeClr val="bg1"/>
                </a:solidFill>
                <a:ea typeface="Arial Regular" pitchFamily="34" charset="-122"/>
              </a:rPr>
              <a:t>→ Обучение в вечерней/очно-заочной форме</a:t>
            </a:r>
          </a:p>
          <a:p>
            <a:pPr lvl="1">
              <a:buClr>
                <a:schemeClr val="bg1"/>
              </a:buClr>
            </a:pPr>
            <a:r>
              <a:rPr lang="ru-RU" sz="1000" dirty="0">
                <a:solidFill>
                  <a:schemeClr val="bg1"/>
                </a:solidFill>
                <a:ea typeface="Arial Regular" pitchFamily="34" charset="-122"/>
              </a:rPr>
              <a:t>→ Индивидуальный план с учётом производственного </a:t>
            </a:r>
            <a:r>
              <a:rPr lang="ru-RU" sz="1000" dirty="0" smtClean="0">
                <a:solidFill>
                  <a:schemeClr val="bg1"/>
                </a:solidFill>
                <a:ea typeface="Arial Regular" pitchFamily="34" charset="-122"/>
              </a:rPr>
              <a:t>опыта</a:t>
            </a:r>
            <a:endParaRPr lang="ru-RU" dirty="0"/>
          </a:p>
        </p:txBody>
      </p:sp>
      <p:sp>
        <p:nvSpPr>
          <p:cNvPr id="56" name="Текст 4">
            <a:extLst>
              <a:ext uri="{FF2B5EF4-FFF2-40B4-BE49-F238E27FC236}">
                <a16:creationId xmlns:a16="http://schemas.microsoft.com/office/drawing/2014/main" id="{87533D7C-F095-5642-CB55-C4056BB27D1F}"/>
              </a:ext>
            </a:extLst>
          </p:cNvPr>
          <p:cNvSpPr txBox="1">
            <a:spLocks/>
          </p:cNvSpPr>
          <p:nvPr/>
        </p:nvSpPr>
        <p:spPr>
          <a:xfrm>
            <a:off x="3252439" y="3725545"/>
            <a:ext cx="1484714" cy="420343"/>
          </a:xfrm>
          <a:prstGeom prst="rect">
            <a:avLst/>
          </a:prstGeom>
        </p:spPr>
        <p:txBody>
          <a:bodyPr lIns="0"/>
          <a:lstStyle>
            <a:lvl1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  <a:defRPr lang="ru-RU" sz="1875" b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  <a:lvl2pPr marL="0" indent="0" algn="l" defTabSz="778986" rtl="0" eaLnBrk="1" fontAlgn="base" latinLnBrk="0" hangingPunct="1">
              <a:lnSpc>
                <a:spcPts val="148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38" b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2pPr>
            <a:lvl3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125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3pPr>
            <a:lvl4pPr marL="0" indent="0" algn="l" defTabSz="778986" rtl="0" eaLnBrk="1" fontAlgn="base" latinLnBrk="0" hangingPunct="1">
              <a:lnSpc>
                <a:spcPts val="112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4pPr>
            <a:lvl5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875" kern="1200" dirty="0">
                <a:solidFill>
                  <a:srgbClr val="003D4C">
                    <a:alpha val="100000"/>
                  </a:srgbClr>
                </a:solidFill>
                <a:latin typeface="Roboto Regular" pitchFamily="34" charset="0"/>
                <a:ea typeface="Roboto Regular" pitchFamily="34" charset="-122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lnSpc>
                <a:spcPct val="100000"/>
              </a:lnSpc>
              <a:buClr>
                <a:schemeClr val="tx2"/>
              </a:buClr>
            </a:pPr>
            <a:r>
              <a:rPr lang="ru-RU" sz="1000" dirty="0">
                <a:solidFill>
                  <a:schemeClr val="bg1"/>
                </a:solidFill>
                <a:ea typeface="Arial Regular" pitchFamily="34" charset="-122"/>
              </a:rPr>
              <a:t>длинный подзаголовок</a:t>
            </a:r>
            <a:br>
              <a:rPr lang="ru-RU" sz="1000" dirty="0">
                <a:solidFill>
                  <a:schemeClr val="bg1"/>
                </a:solidFill>
                <a:ea typeface="Arial Regular" pitchFamily="34" charset="-122"/>
              </a:rPr>
            </a:br>
            <a:r>
              <a:rPr lang="ru-RU" sz="1000" dirty="0">
                <a:solidFill>
                  <a:schemeClr val="bg1"/>
                </a:solidFill>
                <a:ea typeface="Arial Regular" pitchFamily="34" charset="-122"/>
              </a:rPr>
              <a:t>2 уровня в 2 строки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8701" y="2603793"/>
            <a:ext cx="3988452" cy="224350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8701" y="1197290"/>
            <a:ext cx="1849719" cy="123314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41314" name="Picture 2" descr="329235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7429" y="1197290"/>
            <a:ext cx="1849724" cy="123314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00246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BE0DA7-FB0A-2348-2CD0-CA5D69FEB3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оугольник 20"/>
          <p:cNvSpPr/>
          <p:nvPr/>
        </p:nvSpPr>
        <p:spPr bwMode="auto">
          <a:xfrm>
            <a:off x="260171" y="1119485"/>
            <a:ext cx="8617030" cy="1582504"/>
          </a:xfrm>
          <a:prstGeom prst="rect">
            <a:avLst/>
          </a:prstGeom>
          <a:solidFill>
            <a:srgbClr val="EFF5F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 bwMode="auto">
          <a:xfrm>
            <a:off x="245164" y="2699684"/>
            <a:ext cx="6513445" cy="1819308"/>
          </a:xfrm>
          <a:prstGeom prst="roundRect">
            <a:avLst/>
          </a:prstGeom>
          <a:solidFill>
            <a:srgbClr val="EEF4F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 bwMode="auto">
          <a:xfrm>
            <a:off x="318051" y="2699684"/>
            <a:ext cx="8501271" cy="1819308"/>
          </a:xfrm>
          <a:prstGeom prst="round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EDB66AA3-0E08-1241-1E8A-E7DB02766C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7699" y="4757635"/>
            <a:ext cx="5686839" cy="190393"/>
          </a:xfrm>
        </p:spPr>
        <p:txBody>
          <a:bodyPr/>
          <a:lstStyle/>
          <a:p>
            <a:r>
              <a:rPr lang="en-US" dirty="0">
                <a:hlinkClick r:id="rId2"/>
              </a:rPr>
              <a:t>https://blagoveshensk.bashkortostan.ru/presscenter/news/714411/?</a:t>
            </a:r>
            <a:r>
              <a:rPr lang="en-US" dirty="0" smtClean="0">
                <a:hlinkClick r:id="rId2"/>
              </a:rPr>
              <a:t>ysclid=mfgcb8t7lm149889645</a:t>
            </a:r>
            <a:r>
              <a:rPr lang="ru-RU" dirty="0" smtClean="0"/>
              <a:t> </a:t>
            </a:r>
            <a:endParaRPr lang="ru-RU" dirty="0"/>
          </a:p>
          <a:p>
            <a:r>
              <a:rPr lang="en-US" dirty="0">
                <a:hlinkClick r:id="rId3"/>
              </a:rPr>
              <a:t>https://</a:t>
            </a:r>
            <a:r>
              <a:rPr lang="en-US" dirty="0" smtClean="0">
                <a:hlinkClick r:id="rId3"/>
              </a:rPr>
              <a:t>vk.com/wall-71985852_96043?ysclid=mfgcb6kqo204765465</a:t>
            </a:r>
            <a:r>
              <a:rPr lang="ru-RU" dirty="0" smtClean="0"/>
              <a:t> 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6DCD07BE-9E96-EE55-2D25-931A1B488C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25" name="Текст 4">
            <a:extLst>
              <a:ext uri="{FF2B5EF4-FFF2-40B4-BE49-F238E27FC236}">
                <a16:creationId xmlns:a16="http://schemas.microsoft.com/office/drawing/2014/main" id="{04C556F3-85A6-A3BE-68EC-637E4D2B00A7}"/>
              </a:ext>
            </a:extLst>
          </p:cNvPr>
          <p:cNvSpPr txBox="1">
            <a:spLocks/>
          </p:cNvSpPr>
          <p:nvPr/>
        </p:nvSpPr>
        <p:spPr>
          <a:xfrm>
            <a:off x="646042" y="1905414"/>
            <a:ext cx="2268000" cy="420343"/>
          </a:xfrm>
          <a:prstGeom prst="rect">
            <a:avLst/>
          </a:prstGeom>
        </p:spPr>
        <p:txBody>
          <a:bodyPr lIns="0"/>
          <a:lstStyle>
            <a:lvl1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  <a:defRPr lang="ru-RU" sz="1875" b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  <a:lvl2pPr marL="0" indent="0" algn="l" defTabSz="778986" rtl="0" eaLnBrk="1" fontAlgn="base" latinLnBrk="0" hangingPunct="1">
              <a:lnSpc>
                <a:spcPts val="148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38" b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2pPr>
            <a:lvl3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125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3pPr>
            <a:lvl4pPr marL="0" indent="0" algn="l" defTabSz="778986" rtl="0" eaLnBrk="1" fontAlgn="base" latinLnBrk="0" hangingPunct="1">
              <a:lnSpc>
                <a:spcPts val="112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4pPr>
            <a:lvl5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875" kern="1200" dirty="0">
                <a:solidFill>
                  <a:srgbClr val="003D4C">
                    <a:alpha val="100000"/>
                  </a:srgbClr>
                </a:solidFill>
                <a:latin typeface="Roboto Regular" pitchFamily="34" charset="0"/>
                <a:ea typeface="Roboto Regular" pitchFamily="34" charset="-122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lnSpc>
                <a:spcPct val="100000"/>
              </a:lnSpc>
              <a:buClr>
                <a:schemeClr val="tx2"/>
              </a:buClr>
            </a:pPr>
            <a:endParaRPr lang="ru-RU" sz="800" dirty="0">
              <a:solidFill>
                <a:schemeClr val="bg1"/>
              </a:solidFill>
              <a:ea typeface="Arial Regular" pitchFamily="34" charset="-122"/>
            </a:endParaRPr>
          </a:p>
        </p:txBody>
      </p:sp>
      <p:sp>
        <p:nvSpPr>
          <p:cNvPr id="27" name="Текст 4">
            <a:extLst>
              <a:ext uri="{FF2B5EF4-FFF2-40B4-BE49-F238E27FC236}">
                <a16:creationId xmlns:a16="http://schemas.microsoft.com/office/drawing/2014/main" id="{05BA17F8-4740-39F9-9085-8C7ED53E6849}"/>
              </a:ext>
            </a:extLst>
          </p:cNvPr>
          <p:cNvSpPr txBox="1">
            <a:spLocks/>
          </p:cNvSpPr>
          <p:nvPr/>
        </p:nvSpPr>
        <p:spPr>
          <a:xfrm>
            <a:off x="3489581" y="1905414"/>
            <a:ext cx="2268000" cy="420343"/>
          </a:xfrm>
          <a:prstGeom prst="rect">
            <a:avLst/>
          </a:prstGeom>
        </p:spPr>
        <p:txBody>
          <a:bodyPr lIns="0"/>
          <a:lstStyle>
            <a:lvl1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  <a:defRPr lang="ru-RU" sz="1875" b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  <a:lvl2pPr marL="0" indent="0" algn="l" defTabSz="778986" rtl="0" eaLnBrk="1" fontAlgn="base" latinLnBrk="0" hangingPunct="1">
              <a:lnSpc>
                <a:spcPts val="148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38" b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2pPr>
            <a:lvl3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125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3pPr>
            <a:lvl4pPr marL="0" indent="0" algn="l" defTabSz="778986" rtl="0" eaLnBrk="1" fontAlgn="base" latinLnBrk="0" hangingPunct="1">
              <a:lnSpc>
                <a:spcPts val="1125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4pPr>
            <a:lvl5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875" kern="1200" dirty="0">
                <a:solidFill>
                  <a:srgbClr val="003D4C">
                    <a:alpha val="100000"/>
                  </a:srgbClr>
                </a:solidFill>
                <a:latin typeface="Roboto Regular" pitchFamily="34" charset="0"/>
                <a:ea typeface="Roboto Regular" pitchFamily="34" charset="-122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lnSpc>
                <a:spcPct val="100000"/>
              </a:lnSpc>
              <a:buClr>
                <a:schemeClr val="tx2"/>
              </a:buClr>
            </a:pPr>
            <a:endParaRPr lang="ru-RU" sz="800" dirty="0">
              <a:solidFill>
                <a:srgbClr val="003D4C"/>
              </a:solidFill>
              <a:ea typeface="Arial Regular" pitchFamily="34" charset="-122"/>
            </a:endParaRPr>
          </a:p>
        </p:txBody>
      </p:sp>
      <p:sp>
        <p:nvSpPr>
          <p:cNvPr id="15" name="Заголовок 4">
            <a:extLst>
              <a:ext uri="{FF2B5EF4-FFF2-40B4-BE49-F238E27FC236}">
                <a16:creationId xmlns:a16="http://schemas.microsoft.com/office/drawing/2014/main" id="{0594AA9B-7564-9099-7677-5F2E2B586A78}"/>
              </a:ext>
            </a:extLst>
          </p:cNvPr>
          <p:cNvSpPr txBox="1">
            <a:spLocks/>
          </p:cNvSpPr>
          <p:nvPr/>
        </p:nvSpPr>
        <p:spPr>
          <a:xfrm>
            <a:off x="482964" y="286951"/>
            <a:ext cx="7848600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77898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40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 Bold" pitchFamily="34" charset="-122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dirty="0" smtClean="0"/>
              <a:t>Выставка «Дом полимеров»: наука и технологии — для каждого жителя города</a:t>
            </a:r>
            <a:endParaRPr lang="ru-RU" dirty="0"/>
          </a:p>
        </p:txBody>
      </p:sp>
      <p:sp>
        <p:nvSpPr>
          <p:cNvPr id="17" name="Текст 16">
            <a:extLst>
              <a:ext uri="{FF2B5EF4-FFF2-40B4-BE49-F238E27FC236}">
                <a16:creationId xmlns:a16="http://schemas.microsoft.com/office/drawing/2014/main" id="{4F97DDC3-FFE7-2C43-5C0D-3D3166E541CC}"/>
              </a:ext>
            </a:extLst>
          </p:cNvPr>
          <p:cNvSpPr txBox="1">
            <a:spLocks/>
          </p:cNvSpPr>
          <p:nvPr/>
        </p:nvSpPr>
        <p:spPr>
          <a:xfrm>
            <a:off x="4623581" y="2886680"/>
            <a:ext cx="3942590" cy="144655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  <a:defRPr lang="ru-RU" sz="10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1pPr>
            <a:lvl2pPr mar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4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2pPr>
            <a:lvl3pPr mar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3pPr>
            <a:lvl4pPr marL="0" indent="0" algn="l" defTabSz="7789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b="0" i="0" kern="1200" dirty="0" smtClean="0">
                <a:solidFill>
                  <a:srgbClr val="003D4C">
                    <a:alpha val="100000"/>
                  </a:srgbClr>
                </a:solidFill>
                <a:latin typeface="Arial" panose="020B0604020202020204" pitchFamily="34" charset="0"/>
                <a:ea typeface="Roboto Regular" pitchFamily="34" charset="-122"/>
                <a:cs typeface="Arial" panose="020B0604020202020204" pitchFamily="34" charset="0"/>
              </a:defRPr>
            </a:lvl4pPr>
            <a:lvl5pPr marL="0" indent="0" algn="l" defTabSz="778986" rtl="0" eaLnBrk="1" fontAlgn="base" latinLnBrk="0" hangingPunct="1"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875" kern="1200" dirty="0">
                <a:solidFill>
                  <a:srgbClr val="003D4C">
                    <a:alpha val="100000"/>
                  </a:srgbClr>
                </a:solidFill>
                <a:latin typeface="Roboto Regular" pitchFamily="34" charset="0"/>
                <a:ea typeface="Roboto Regular" pitchFamily="34" charset="-122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ru-RU" sz="1200" b="1" dirty="0" smtClean="0">
                <a:solidFill>
                  <a:srgbClr val="008C95"/>
                </a:solidFill>
              </a:rPr>
              <a:t>Тысячи жителей познакомились с полимерами — потрогали, узнали, удивились.</a:t>
            </a:r>
          </a:p>
          <a:p>
            <a:pPr lvl="1"/>
            <a:endParaRPr lang="ru-RU" sz="1000" dirty="0" smtClean="0">
              <a:solidFill>
                <a:srgbClr val="003D4C"/>
              </a:solidFill>
              <a:ea typeface="Arial Regular" pitchFamily="34" charset="-122"/>
            </a:endParaRPr>
          </a:p>
          <a:p>
            <a:pPr marL="171450" lvl="1" indent="-1714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dirty="0" smtClean="0">
                <a:solidFill>
                  <a:srgbClr val="003D4C"/>
                </a:solidFill>
                <a:ea typeface="Arial Regular" pitchFamily="34" charset="-122"/>
              </a:rPr>
              <a:t>Более 10 000 посетителей — дети, взрослые, пенсионеры;  </a:t>
            </a:r>
          </a:p>
          <a:p>
            <a:pPr marL="171450" lvl="1" indent="-1714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dirty="0" smtClean="0">
                <a:solidFill>
                  <a:srgbClr val="003D4C"/>
                </a:solidFill>
                <a:ea typeface="Arial Regular" pitchFamily="34" charset="-122"/>
              </a:rPr>
              <a:t>Интерактивные экспонаты</a:t>
            </a:r>
            <a:r>
              <a:rPr lang="ru-RU" sz="1000" dirty="0">
                <a:solidFill>
                  <a:srgbClr val="003D4C"/>
                </a:solidFill>
                <a:ea typeface="Arial Regular" pitchFamily="34" charset="-122"/>
              </a:rPr>
              <a:t>: трогать, </a:t>
            </a:r>
            <a:r>
              <a:rPr lang="ru-RU" sz="1000" dirty="0" smtClean="0">
                <a:solidFill>
                  <a:srgbClr val="003D4C"/>
                </a:solidFill>
                <a:ea typeface="Arial Regular" pitchFamily="34" charset="-122"/>
              </a:rPr>
              <a:t>крутить, услышать </a:t>
            </a:r>
            <a:r>
              <a:rPr lang="ru-RU" sz="1000" dirty="0">
                <a:solidFill>
                  <a:srgbClr val="003D4C"/>
                </a:solidFill>
                <a:ea typeface="Arial Regular" pitchFamily="34" charset="-122"/>
              </a:rPr>
              <a:t>— и влюбиться в полимеры;</a:t>
            </a:r>
            <a:endParaRPr lang="ru-RU" sz="1000" dirty="0" smtClean="0">
              <a:solidFill>
                <a:srgbClr val="003D4C"/>
              </a:solidFill>
              <a:ea typeface="Arial Regular" pitchFamily="34" charset="-122"/>
            </a:endParaRPr>
          </a:p>
          <a:p>
            <a:pPr marL="171450" lvl="1" indent="-1714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dirty="0" smtClean="0">
                <a:solidFill>
                  <a:srgbClr val="003D4C"/>
                </a:solidFill>
                <a:ea typeface="Arial Regular" pitchFamily="34" charset="-122"/>
              </a:rPr>
              <a:t> Экскурсии под руководством опытных экскурсоводов из Москвы;</a:t>
            </a:r>
          </a:p>
          <a:p>
            <a:pPr marL="171450" lvl="1" indent="-1714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dirty="0" smtClean="0">
                <a:solidFill>
                  <a:srgbClr val="003D4C"/>
                </a:solidFill>
                <a:ea typeface="Arial Regular" pitchFamily="34" charset="-122"/>
              </a:rPr>
              <a:t>Мастер-классы и «химические шоу».</a:t>
            </a:r>
            <a:endParaRPr lang="ru-RU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4"/>
          <a:srcRect r="1045" b="9501"/>
          <a:stretch/>
        </p:blipFill>
        <p:spPr>
          <a:xfrm>
            <a:off x="3228559" y="1144594"/>
            <a:ext cx="2357409" cy="139047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39266" name="Picture 2" descr="336531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9549" y="1119485"/>
            <a:ext cx="2082015" cy="138781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4382" y="1155682"/>
            <a:ext cx="2072786" cy="136829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40290" name="Picture 2" descr="3365309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142" b="13773"/>
          <a:stretch/>
        </p:blipFill>
        <p:spPr bwMode="auto">
          <a:xfrm>
            <a:off x="482964" y="2771326"/>
            <a:ext cx="3753213" cy="167832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6801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Контент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SIBU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0F6474E1-0467-45A1-845A-3ECC8709ED9C}" vid="{A65F46B2-8103-4857-8A07-5158E50ADC0C}"/>
    </a:ext>
  </a:extLst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Выводы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SIBU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0F6474E1-0467-45A1-845A-3ECC8709ED9C}" vid="{5D6D2CAC-C764-42D7-8124-CB2453A24F92}"/>
    </a:ext>
  </a:extLst>
</a:theme>
</file>

<file path=ppt/theme/theme3.xml><?xml version="1.0" encoding="utf-8"?>
<a:theme xmlns:a="http://schemas.openxmlformats.org/drawingml/2006/main" name="Титульные слайды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SIBU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0F6474E1-0467-45A1-845A-3ECC8709ED9C}" vid="{0B1BA8A9-916D-4367-83C2-0899E7FD2008}"/>
    </a:ext>
  </a:extLst>
</a:theme>
</file>

<file path=ppt/theme/theme4.xml><?xml version="1.0" encoding="utf-8"?>
<a:theme xmlns:a="http://schemas.openxmlformats.org/drawingml/2006/main" name="Графики и диаграммы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SIBU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0F6474E1-0467-45A1-845A-3ECC8709ED9C}" vid="{B7D4A55D-C070-4583-88A5-D2B6D8BB5BA8}"/>
    </a:ext>
  </a:extLst>
</a:theme>
</file>

<file path=ppt/theme/theme5.xml><?xml version="1.0" encoding="utf-8"?>
<a:theme xmlns:a="http://schemas.openxmlformats.org/drawingml/2006/main" name="Таблицы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SIBU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0F6474E1-0467-45A1-845A-3ECC8709ED9C}" vid="{6CF406C0-E57A-4FFA-A992-C36BDA4D1046}"/>
    </a:ext>
  </a:extLst>
</a:theme>
</file>

<file path=ppt/theme/theme6.xml><?xml version="1.0" encoding="utf-8"?>
<a:theme xmlns:a="http://schemas.openxmlformats.org/drawingml/2006/main" name="Команда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SIBU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0F6474E1-0467-45A1-845A-3ECC8709ED9C}" vid="{FB70ECD2-818D-46F0-9D12-A9EF8686EC59}"/>
    </a:ext>
  </a:extLst>
</a:theme>
</file>

<file path=ppt/theme/theme7.xml><?xml version="1.0" encoding="utf-8"?>
<a:theme xmlns:a="http://schemas.openxmlformats.org/drawingml/2006/main" name="Таймлайн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SIBU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0F6474E1-0467-45A1-845A-3ECC8709ED9C}" vid="{BE2D81D7-5DAC-4578-99EB-8C9A20670F7F}"/>
    </a:ext>
  </a:extLst>
</a:theme>
</file>

<file path=ppt/theme/theme8.xml><?xml version="1.0" encoding="utf-8"?>
<a:theme xmlns:a="http://schemas.openxmlformats.org/drawingml/2006/main" name="Титульный слайд тематический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SIBU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0F6474E1-0467-45A1-845A-3ECC8709ED9C}" vid="{E3BC9F57-DD6C-49E7-9201-4E2A1E68D32A}"/>
    </a:ext>
  </a:extLst>
</a:theme>
</file>

<file path=ppt/theme/theme9.xml><?xml version="1.0" encoding="utf-8"?>
<a:theme xmlns:a="http://schemas.openxmlformats.org/drawingml/2006/main" name="Перебивочный слайд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SIBU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0F6474E1-0467-45A1-845A-3ECC8709ED9C}" vid="{84D67250-510B-441A-A54F-36A52280B13D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bda88f5-81ee-4ce0-acd0-0fc58edecc95">E76AX7DTSNFM-10-759</_dlc_DocId>
    <_dlc_DocIdUrl xmlns="7bda88f5-81ee-4ce0-acd0-0fc58edecc95">
      <Url>https://sharepoint/portals/template/_layouts/15/DocIdRedir.aspx?ID=E76AX7DTSNFM-10-759</Url>
      <Description>E76AX7DTSNFM-10-759</Description>
    </_dlc_DocIdUrl>
    <_x041e__x043f__x0438__x0441__x0430__x043d__x0438__x0435_ xmlns="9b0c9865-9e5f-4a19-8def-db8deaed8a57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16FAC3A0D30DAA42AF4EBACF79D57079" ma:contentTypeVersion="1" ma:contentTypeDescription="Создание документа." ma:contentTypeScope="" ma:versionID="5b038f186db50e1ddcdbacd989e9fd93">
  <xsd:schema xmlns:xsd="http://www.w3.org/2001/XMLSchema" xmlns:xs="http://www.w3.org/2001/XMLSchema" xmlns:p="http://schemas.microsoft.com/office/2006/metadata/properties" xmlns:ns2="7bda88f5-81ee-4ce0-acd0-0fc58edecc95" xmlns:ns3="9b0c9865-9e5f-4a19-8def-db8deaed8a57" targetNamespace="http://schemas.microsoft.com/office/2006/metadata/properties" ma:root="true" ma:fieldsID="6f43ea1788a8d090c714bc610b22df34" ns2:_="" ns3:_="">
    <xsd:import namespace="7bda88f5-81ee-4ce0-acd0-0fc58edecc95"/>
    <xsd:import namespace="9b0c9865-9e5f-4a19-8def-db8deaed8a5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_x041e__x043f__x0438__x0441__x0430__x043d__x0438__x0435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da88f5-81ee-4ce0-acd0-0fc58edecc9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0c9865-9e5f-4a19-8def-db8deaed8a57" elementFormDefault="qualified">
    <xsd:import namespace="http://schemas.microsoft.com/office/2006/documentManagement/types"/>
    <xsd:import namespace="http://schemas.microsoft.com/office/infopath/2007/PartnerControls"/>
    <xsd:element name="_x041e__x043f__x0438__x0441__x0430__x043d__x0438__x0435_" ma:index="11" nillable="true" ma:displayName="Описание" ma:internalName="_x041e__x043f__x0438__x0441__x0430__x043d__x0438__x0435_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20A7FD75-1E90-43D2-ABF1-A6C12E8540AE}">
  <ds:schemaRefs>
    <ds:schemaRef ds:uri="7bda88f5-81ee-4ce0-acd0-0fc58edecc95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9b0c9865-9e5f-4a19-8def-db8deaed8a57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92F92E0E-ED67-41DF-96C8-B1A6E4369BD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2FFB9B5-4495-4C13-BA14-466E85A0B7E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bda88f5-81ee-4ce0-acd0-0fc58edecc95"/>
    <ds:schemaRef ds:uri="9b0c9865-9e5f-4a19-8def-db8deaed8a5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1FC1EEFD-48C5-4F7B-8517-DBB3AEC775EE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СИБУР C</Template>
  <TotalTime>9764</TotalTime>
  <Words>1574</Words>
  <Application>Microsoft Office PowerPoint</Application>
  <PresentationFormat>Экран (16:9)</PresentationFormat>
  <Paragraphs>196</Paragraphs>
  <Slides>13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34" baseType="lpstr">
      <vt:lpstr>Arial</vt:lpstr>
      <vt:lpstr>Arial Bold</vt:lpstr>
      <vt:lpstr>Arial Regular</vt:lpstr>
      <vt:lpstr>Helvetica Neue Medium</vt:lpstr>
      <vt:lpstr>Microsoft Sans Serif</vt:lpstr>
      <vt:lpstr>Roboto</vt:lpstr>
      <vt:lpstr>Roboto Black</vt:lpstr>
      <vt:lpstr>Roboto Flex Normal Light</vt:lpstr>
      <vt:lpstr>Roboto Regular</vt:lpstr>
      <vt:lpstr>Roboto SemiBold</vt:lpstr>
      <vt:lpstr>Wingdings</vt:lpstr>
      <vt:lpstr>Контент</vt:lpstr>
      <vt:lpstr>Выводы</vt:lpstr>
      <vt:lpstr>Титульные слайды</vt:lpstr>
      <vt:lpstr>Графики и диаграммы</vt:lpstr>
      <vt:lpstr>Таблицы</vt:lpstr>
      <vt:lpstr>Команда</vt:lpstr>
      <vt:lpstr>Таймлайн</vt:lpstr>
      <vt:lpstr>Титульный слайд тематический</vt:lpstr>
      <vt:lpstr>Перебивочный слайд</vt:lpstr>
      <vt:lpstr>Слайд think-cell</vt:lpstr>
      <vt:lpstr>Бесшовная профессиональная подготовка молодых кадров</vt:lpstr>
      <vt:lpstr>Презентация PowerPoint</vt:lpstr>
      <vt:lpstr>Взаимодействие с дошкольными учреждениями города Благовещенск и района</vt:lpstr>
      <vt:lpstr>Взаимодействие с дополнительным образованием города Благовещенск</vt:lpstr>
      <vt:lpstr>Взаимодействие со школами города Благовещенск и района</vt:lpstr>
      <vt:lpstr>Развитие профильной школы (МОБУ СОШ №6 им. М.А. Киняшова г. Благовещенска)</vt:lpstr>
      <vt:lpstr>Развитие Благовещенского многопрофильного профессионального колледжа (БМПК)</vt:lpstr>
      <vt:lpstr>Партнёрство СИБУРа с ВУЗами: Полноценная образовательная экосистема</vt:lpstr>
      <vt:lpstr>Презентация PowerPoint</vt:lpstr>
      <vt:lpstr>Презентация PowerPoint</vt:lpstr>
      <vt:lpstr>От производства к обществу: волонтёрские проекты СИБУРа</vt:lpstr>
      <vt:lpstr>Преимущества программы «Бесшовная подготовка кадров»</vt:lpstr>
      <vt:lpstr>Презентация PowerPoint</vt:lpstr>
    </vt:vector>
  </TitlesOfParts>
  <Company>SIBU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Шаблон презентаций СИБУРа</dc:title>
  <dc:creator>Бахтиева Ризана Мирхадиевна</dc:creator>
  <cp:lastModifiedBy>Бахтиева Ризана Мирхадиевна</cp:lastModifiedBy>
  <cp:revision>56</cp:revision>
  <dcterms:created xsi:type="dcterms:W3CDTF">2025-08-26T09:18:35Z</dcterms:created>
  <dcterms:modified xsi:type="dcterms:W3CDTF">2025-09-12T10:43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FAC3A0D30DAA42AF4EBACF79D57079</vt:lpwstr>
  </property>
  <property fmtid="{D5CDD505-2E9C-101B-9397-08002B2CF9AE}" pid="3" name="_dlc_DocIdItemGuid">
    <vt:lpwstr>08128e61-b529-4dc6-902a-2bae7e28187e</vt:lpwstr>
  </property>
</Properties>
</file>